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5475" r:id="rId4"/>
    <p:sldMasterId id="2147485501" r:id="rId5"/>
  </p:sldMasterIdLst>
  <p:notesMasterIdLst>
    <p:notesMasterId r:id="rId15"/>
  </p:notesMasterIdLst>
  <p:handoutMasterIdLst>
    <p:handoutMasterId r:id="rId16"/>
  </p:handoutMasterIdLst>
  <p:sldIdLst>
    <p:sldId id="2145706248" r:id="rId6"/>
    <p:sldId id="2147470751" r:id="rId7"/>
    <p:sldId id="2147375537" r:id="rId8"/>
    <p:sldId id="276" r:id="rId9"/>
    <p:sldId id="540" r:id="rId10"/>
    <p:sldId id="2147470748" r:id="rId11"/>
    <p:sldId id="2147470750" r:id="rId12"/>
    <p:sldId id="2147470749" r:id="rId13"/>
    <p:sldId id="2147473673" r:id="rId14"/>
  </p:sldIdLst>
  <p:sldSz cx="12192000" cy="6858000"/>
  <p:notesSz cx="9926638" cy="6797675"/>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lbert Picado De Puig" initials="APDP" lastIdx="3" clrIdx="6">
    <p:extLst>
      <p:ext uri="{19B8F6BF-5375-455C-9EA6-DF929625EA0E}">
        <p15:presenceInfo xmlns:p15="http://schemas.microsoft.com/office/powerpoint/2012/main" userId="S-1-5-21-758399636-2987204155-3505288178-4660" providerId="AD"/>
      </p:ext>
    </p:extLst>
  </p:cmAuthor>
  <p:cmAuthor id="1" name="Guihaume, Tiphaine" initials="GT" lastIdx="1" clrIdx="0">
    <p:extLst>
      <p:ext uri="{19B8F6BF-5375-455C-9EA6-DF929625EA0E}">
        <p15:presenceInfo xmlns:p15="http://schemas.microsoft.com/office/powerpoint/2012/main" userId="Guihaume, Tiphaine" providerId="None"/>
      </p:ext>
    </p:extLst>
  </p:cmAuthor>
  <p:cmAuthor id="8" name="Maël Redard" initials="MR" lastIdx="1" clrIdx="7">
    <p:extLst>
      <p:ext uri="{19B8F6BF-5375-455C-9EA6-DF929625EA0E}">
        <p15:presenceInfo xmlns:p15="http://schemas.microsoft.com/office/powerpoint/2012/main" userId="S::Mael.Redard@finddx.org::c2364de1-a1f0-490d-8ae0-9c9d5b5f0ba6" providerId="AD"/>
      </p:ext>
    </p:extLst>
  </p:cmAuthor>
  <p:cmAuthor id="2" name="Morten Ruhwald" initials="MR" lastIdx="2" clrIdx="1">
    <p:extLst>
      <p:ext uri="{19B8F6BF-5375-455C-9EA6-DF929625EA0E}">
        <p15:presenceInfo xmlns:p15="http://schemas.microsoft.com/office/powerpoint/2012/main" userId="Morten Ruhwald" providerId="None"/>
      </p:ext>
    </p:extLst>
  </p:cmAuthor>
  <p:cmAuthor id="9" name="Albert" initials="A" lastIdx="3" clrIdx="8">
    <p:extLst>
      <p:ext uri="{19B8F6BF-5375-455C-9EA6-DF929625EA0E}">
        <p15:presenceInfo xmlns:p15="http://schemas.microsoft.com/office/powerpoint/2012/main" userId="Albert" providerId="None"/>
      </p:ext>
    </p:extLst>
  </p:cmAuthor>
  <p:cmAuthor id="3" name="Sarah Nogaro" initials="SN" lastIdx="31" clrIdx="2">
    <p:extLst>
      <p:ext uri="{19B8F6BF-5375-455C-9EA6-DF929625EA0E}">
        <p15:presenceInfo xmlns:p15="http://schemas.microsoft.com/office/powerpoint/2012/main" userId="S::Sarah.Nogaro@finddx.org::cad2f3ff-81c2-49d3-9bee-4c5d604850df" providerId="AD"/>
      </p:ext>
    </p:extLst>
  </p:cmAuthor>
  <p:cmAuthor id="10" name="Joseph Ndungu" initials="JN" lastIdx="5" clrIdx="9">
    <p:extLst>
      <p:ext uri="{19B8F6BF-5375-455C-9EA6-DF929625EA0E}">
        <p15:presenceInfo xmlns:p15="http://schemas.microsoft.com/office/powerpoint/2012/main" userId="S::Joseph.Ndungu@finddx.org::ca0ea31a-dc60-4871-a047-a769c4ef740e" providerId="AD"/>
      </p:ext>
    </p:extLst>
  </p:cmAuthor>
  <p:cmAuthor id="4" name="Dziedzom Komi DE SOUZA" initials="DKDS" lastIdx="5" clrIdx="3">
    <p:extLst>
      <p:ext uri="{19B8F6BF-5375-455C-9EA6-DF929625EA0E}">
        <p15:presenceInfo xmlns:p15="http://schemas.microsoft.com/office/powerpoint/2012/main" userId="S::DziedzomKomi.DESOUZA@Finddx.org::7ac39cd6-5acb-435a-9f04-fb1043c5a2a2" providerId="AD"/>
      </p:ext>
    </p:extLst>
  </p:cmAuthor>
  <p:cmAuthor id="11" name="PORE, Meenal" initials="PM" lastIdx="4" clrIdx="10">
    <p:extLst>
      <p:ext uri="{19B8F6BF-5375-455C-9EA6-DF929625EA0E}">
        <p15:presenceInfo xmlns:p15="http://schemas.microsoft.com/office/powerpoint/2012/main" userId="PORE, Meenal" providerId="None"/>
      </p:ext>
    </p:extLst>
  </p:cmAuthor>
  <p:cmAuthor id="5" name="Tatiana Letsko" initials="TL" lastIdx="1" clrIdx="4">
    <p:extLst>
      <p:ext uri="{19B8F6BF-5375-455C-9EA6-DF929625EA0E}">
        <p15:presenceInfo xmlns:p15="http://schemas.microsoft.com/office/powerpoint/2012/main" userId="S::Tatiana.Letsko@Finddx.org::a6cb2b95-6f96-4c98-bbb5-ef102aa349fb" providerId="AD"/>
      </p:ext>
    </p:extLst>
  </p:cmAuthor>
  <p:cmAuthor id="12" name="Sarah-Jane Loveday" initials="SJL" lastIdx="10" clrIdx="11">
    <p:extLst>
      <p:ext uri="{19B8F6BF-5375-455C-9EA6-DF929625EA0E}">
        <p15:presenceInfo xmlns:p15="http://schemas.microsoft.com/office/powerpoint/2012/main" userId="S::Sarah-Jane.Loveday@finddx.org::38f1dcbf-72cf-4a61-820e-24f00c15d838" providerId="AD"/>
      </p:ext>
    </p:extLst>
  </p:cmAuthor>
  <p:cmAuthor id="6" name="Sylvain Bieler" initials="SB" lastIdx="3" clrIdx="5">
    <p:extLst>
      <p:ext uri="{19B8F6BF-5375-455C-9EA6-DF929625EA0E}">
        <p15:presenceInfo xmlns:p15="http://schemas.microsoft.com/office/powerpoint/2012/main" userId="S::Sylvain.Bieler@finddx.org::a37712c3-e8a0-4e16-8c22-5fd8fb77916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90407"/>
    <a:srgbClr val="900607"/>
    <a:srgbClr val="43ABB6"/>
    <a:srgbClr val="E93F47"/>
    <a:srgbClr val="955895"/>
    <a:srgbClr val="FFFF00"/>
    <a:srgbClr val="6AC534"/>
    <a:srgbClr val="FFC000"/>
    <a:srgbClr val="00B0F0"/>
    <a:srgbClr val="F7964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694"/>
  </p:normalViewPr>
  <p:slideViewPr>
    <p:cSldViewPr snapToGrid="0">
      <p:cViewPr varScale="1">
        <p:scale>
          <a:sx n="117" d="100"/>
          <a:sy n="117" d="100"/>
        </p:scale>
        <p:origin x="808" y="16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400AD58B-399D-054B-9106-83359BF5E949}"/>
              </a:ext>
            </a:extLst>
          </p:cNvPr>
          <p:cNvSpPr>
            <a:spLocks noGrp="1"/>
          </p:cNvSpPr>
          <p:nvPr>
            <p:ph type="hdr" sz="quarter"/>
          </p:nvPr>
        </p:nvSpPr>
        <p:spPr>
          <a:xfrm>
            <a:off x="0" y="0"/>
            <a:ext cx="4302125" cy="341313"/>
          </a:xfrm>
          <a:prstGeom prst="rect">
            <a:avLst/>
          </a:prstGeom>
        </p:spPr>
        <p:txBody>
          <a:bodyPr vert="horz" lIns="91440" tIns="45720" rIns="91440" bIns="45720" rtlCol="0"/>
          <a:lstStyle>
            <a:lvl1pPr algn="l">
              <a:defRPr sz="1200"/>
            </a:lvl1pPr>
          </a:lstStyle>
          <a:p>
            <a:endParaRPr lang="en-GB"/>
          </a:p>
        </p:txBody>
      </p:sp>
      <p:sp>
        <p:nvSpPr>
          <p:cNvPr id="3" name="Marcador de fecha 2">
            <a:extLst>
              <a:ext uri="{FF2B5EF4-FFF2-40B4-BE49-F238E27FC236}">
                <a16:creationId xmlns:a16="http://schemas.microsoft.com/office/drawing/2014/main" id="{CEC1209A-37E3-104D-A696-CE56C86A59FC}"/>
              </a:ext>
            </a:extLst>
          </p:cNvPr>
          <p:cNvSpPr>
            <a:spLocks noGrp="1"/>
          </p:cNvSpPr>
          <p:nvPr>
            <p:ph type="dt" sz="quarter" idx="1"/>
          </p:nvPr>
        </p:nvSpPr>
        <p:spPr>
          <a:xfrm>
            <a:off x="5622925" y="0"/>
            <a:ext cx="4302125" cy="341313"/>
          </a:xfrm>
          <a:prstGeom prst="rect">
            <a:avLst/>
          </a:prstGeom>
        </p:spPr>
        <p:txBody>
          <a:bodyPr vert="horz" lIns="91440" tIns="45720" rIns="91440" bIns="45720" rtlCol="0"/>
          <a:lstStyle>
            <a:lvl1pPr algn="r">
              <a:defRPr sz="1200"/>
            </a:lvl1pPr>
          </a:lstStyle>
          <a:p>
            <a:fld id="{3BD484AE-AF15-CA4B-999E-0CF4799BC5F7}" type="datetimeFigureOut">
              <a:rPr lang="en-GB" smtClean="0"/>
              <a:t>02/08/2023</a:t>
            </a:fld>
            <a:endParaRPr lang="en-GB"/>
          </a:p>
        </p:txBody>
      </p:sp>
      <p:sp>
        <p:nvSpPr>
          <p:cNvPr id="4" name="Marcador de pie de página 3">
            <a:extLst>
              <a:ext uri="{FF2B5EF4-FFF2-40B4-BE49-F238E27FC236}">
                <a16:creationId xmlns:a16="http://schemas.microsoft.com/office/drawing/2014/main" id="{86C43993-7BA2-0E48-83A6-D0230E658638}"/>
              </a:ext>
            </a:extLst>
          </p:cNvPr>
          <p:cNvSpPr>
            <a:spLocks noGrp="1"/>
          </p:cNvSpPr>
          <p:nvPr>
            <p:ph type="ftr" sz="quarter" idx="2"/>
          </p:nvPr>
        </p:nvSpPr>
        <p:spPr>
          <a:xfrm>
            <a:off x="0" y="6456363"/>
            <a:ext cx="4302125" cy="341312"/>
          </a:xfrm>
          <a:prstGeom prst="rect">
            <a:avLst/>
          </a:prstGeom>
        </p:spPr>
        <p:txBody>
          <a:bodyPr vert="horz" lIns="91440" tIns="45720" rIns="91440" bIns="45720" rtlCol="0" anchor="b"/>
          <a:lstStyle>
            <a:lvl1pPr algn="l">
              <a:defRPr sz="1200"/>
            </a:lvl1pPr>
          </a:lstStyle>
          <a:p>
            <a:endParaRPr lang="en-GB"/>
          </a:p>
        </p:txBody>
      </p:sp>
      <p:sp>
        <p:nvSpPr>
          <p:cNvPr id="5" name="Marcador de número de diapositiva 4">
            <a:extLst>
              <a:ext uri="{FF2B5EF4-FFF2-40B4-BE49-F238E27FC236}">
                <a16:creationId xmlns:a16="http://schemas.microsoft.com/office/drawing/2014/main" id="{9D21F3FA-3EA4-8D47-A5D0-1CF3BCB659BF}"/>
              </a:ext>
            </a:extLst>
          </p:cNvPr>
          <p:cNvSpPr>
            <a:spLocks noGrp="1"/>
          </p:cNvSpPr>
          <p:nvPr>
            <p:ph type="sldNum" sz="quarter" idx="3"/>
          </p:nvPr>
        </p:nvSpPr>
        <p:spPr>
          <a:xfrm>
            <a:off x="5622925" y="6456363"/>
            <a:ext cx="4302125" cy="341312"/>
          </a:xfrm>
          <a:prstGeom prst="rect">
            <a:avLst/>
          </a:prstGeom>
        </p:spPr>
        <p:txBody>
          <a:bodyPr vert="horz" lIns="91440" tIns="45720" rIns="91440" bIns="45720" rtlCol="0" anchor="b"/>
          <a:lstStyle>
            <a:lvl1pPr algn="r">
              <a:defRPr sz="1200"/>
            </a:lvl1pPr>
          </a:lstStyle>
          <a:p>
            <a:fld id="{97902C6D-8DBA-E24B-AF6A-A1ECB89B139C}" type="slidenum">
              <a:rPr lang="en-GB" smtClean="0"/>
              <a:t>‹#›</a:t>
            </a:fld>
            <a:endParaRPr lang="en-GB"/>
          </a:p>
        </p:txBody>
      </p:sp>
    </p:spTree>
    <p:extLst>
      <p:ext uri="{BB962C8B-B14F-4D97-AF65-F5344CB8AC3E}">
        <p14:creationId xmlns:p14="http://schemas.microsoft.com/office/powerpoint/2010/main" val="21218856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301316" cy="34004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623616" y="0"/>
            <a:ext cx="4301316" cy="340040"/>
          </a:xfrm>
          <a:prstGeom prst="rect">
            <a:avLst/>
          </a:prstGeom>
        </p:spPr>
        <p:txBody>
          <a:bodyPr vert="horz" lIns="91440" tIns="45720" rIns="91440" bIns="45720" rtlCol="0"/>
          <a:lstStyle>
            <a:lvl1pPr algn="r">
              <a:defRPr sz="1200"/>
            </a:lvl1pPr>
          </a:lstStyle>
          <a:p>
            <a:fld id="{D11926FF-3E55-475B-A653-864594870954}" type="datetimeFigureOut">
              <a:rPr lang="en-US" smtClean="0"/>
              <a:t>8/2/23</a:t>
            </a:fld>
            <a:endParaRPr lang="en-US"/>
          </a:p>
        </p:txBody>
      </p:sp>
      <p:sp>
        <p:nvSpPr>
          <p:cNvPr id="4" name="Slide Image Placeholder 3"/>
          <p:cNvSpPr>
            <a:spLocks noGrp="1" noRot="1" noChangeAspect="1"/>
          </p:cNvSpPr>
          <p:nvPr>
            <p:ph type="sldImg" idx="2"/>
          </p:nvPr>
        </p:nvSpPr>
        <p:spPr>
          <a:xfrm>
            <a:off x="2922588" y="849313"/>
            <a:ext cx="4081462" cy="22955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93006" y="3271517"/>
            <a:ext cx="7940628" cy="2676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457636"/>
            <a:ext cx="4301316" cy="340039"/>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623616" y="6457636"/>
            <a:ext cx="4301316" cy="340039"/>
          </a:xfrm>
          <a:prstGeom prst="rect">
            <a:avLst/>
          </a:prstGeom>
        </p:spPr>
        <p:txBody>
          <a:bodyPr vert="horz" lIns="91440" tIns="45720" rIns="91440" bIns="45720" rtlCol="0" anchor="b"/>
          <a:lstStyle>
            <a:lvl1pPr algn="r">
              <a:defRPr sz="1200"/>
            </a:lvl1pPr>
          </a:lstStyle>
          <a:p>
            <a:fld id="{C1B318DB-F457-434B-AF38-9C9D2D24F725}" type="slidenum">
              <a:rPr lang="en-US" smtClean="0"/>
              <a:t>‹#›</a:t>
            </a:fld>
            <a:endParaRPr lang="en-US"/>
          </a:p>
        </p:txBody>
      </p:sp>
    </p:spTree>
    <p:extLst>
      <p:ext uri="{BB962C8B-B14F-4D97-AF65-F5344CB8AC3E}">
        <p14:creationId xmlns:p14="http://schemas.microsoft.com/office/powerpoint/2010/main" val="6634503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1B318DB-F457-434B-AF38-9C9D2D24F725}" type="slidenum">
              <a:rPr lang="en-US" smtClean="0"/>
              <a:t>1</a:t>
            </a:fld>
            <a:endParaRPr lang="en-US"/>
          </a:p>
        </p:txBody>
      </p:sp>
    </p:spTree>
    <p:extLst>
      <p:ext uri="{BB962C8B-B14F-4D97-AF65-F5344CB8AC3E}">
        <p14:creationId xmlns:p14="http://schemas.microsoft.com/office/powerpoint/2010/main" val="8353502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86"/>
        <p:cNvGrpSpPr/>
        <p:nvPr/>
      </p:nvGrpSpPr>
      <p:grpSpPr>
        <a:xfrm>
          <a:off x="0" y="0"/>
          <a:ext cx="0" cy="0"/>
          <a:chOff x="0" y="0"/>
          <a:chExt cx="0" cy="0"/>
        </a:xfrm>
      </p:grpSpPr>
      <p:sp>
        <p:nvSpPr>
          <p:cNvPr id="1087" name="Google Shape;1087;gecbc2565e2_4_136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88" name="Google Shape;1088;gecbc2565e2_4_136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1068C62-EAC1-47FB-BAD5-F8FCC87C0FB4}" type="slidenum">
              <a:rPr lang="en-US" smtClean="0">
                <a:latin typeface="Arial"/>
              </a:rPr>
              <a:pPr>
                <a:defRPr/>
              </a:pPr>
              <a:t>5</a:t>
            </a:fld>
            <a:endParaRPr lang="en-US" dirty="0">
              <a:latin typeface="Arial"/>
            </a:endParaRPr>
          </a:p>
        </p:txBody>
      </p:sp>
    </p:spTree>
    <p:extLst>
      <p:ext uri="{BB962C8B-B14F-4D97-AF65-F5344CB8AC3E}">
        <p14:creationId xmlns:p14="http://schemas.microsoft.com/office/powerpoint/2010/main" val="38509258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1068C62-EAC1-47FB-BAD5-F8FCC87C0FB4}" type="slidenum">
              <a:rPr lang="en-US" smtClean="0">
                <a:latin typeface="Arial"/>
              </a:rPr>
              <a:pPr>
                <a:defRPr/>
              </a:pPr>
              <a:t>6</a:t>
            </a:fld>
            <a:endParaRPr lang="en-US" dirty="0">
              <a:latin typeface="Arial"/>
            </a:endParaRPr>
          </a:p>
        </p:txBody>
      </p:sp>
    </p:spTree>
    <p:extLst>
      <p:ext uri="{BB962C8B-B14F-4D97-AF65-F5344CB8AC3E}">
        <p14:creationId xmlns:p14="http://schemas.microsoft.com/office/powerpoint/2010/main" val="41652513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1068C62-EAC1-47FB-BAD5-F8FCC87C0FB4}" type="slidenum">
              <a:rPr lang="en-US" smtClean="0">
                <a:latin typeface="Arial"/>
              </a:rPr>
              <a:pPr>
                <a:defRPr/>
              </a:pPr>
              <a:t>7</a:t>
            </a:fld>
            <a:endParaRPr lang="en-US" dirty="0">
              <a:latin typeface="Arial"/>
            </a:endParaRPr>
          </a:p>
        </p:txBody>
      </p:sp>
    </p:spTree>
    <p:extLst>
      <p:ext uri="{BB962C8B-B14F-4D97-AF65-F5344CB8AC3E}">
        <p14:creationId xmlns:p14="http://schemas.microsoft.com/office/powerpoint/2010/main" val="41687050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1068C62-EAC1-47FB-BAD5-F8FCC87C0FB4}" type="slidenum">
              <a:rPr lang="en-US" smtClean="0">
                <a:latin typeface="Arial"/>
              </a:rPr>
              <a:pPr>
                <a:defRPr/>
              </a:pPr>
              <a:t>8</a:t>
            </a:fld>
            <a:endParaRPr lang="en-US" dirty="0">
              <a:latin typeface="Arial"/>
            </a:endParaRPr>
          </a:p>
        </p:txBody>
      </p:sp>
    </p:spTree>
    <p:extLst>
      <p:ext uri="{BB962C8B-B14F-4D97-AF65-F5344CB8AC3E}">
        <p14:creationId xmlns:p14="http://schemas.microsoft.com/office/powerpoint/2010/main" val="10907968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sp>
        <p:nvSpPr>
          <p:cNvPr id="3" name="Forma libre 52">
            <a:extLst>
              <a:ext uri="{FF2B5EF4-FFF2-40B4-BE49-F238E27FC236}">
                <a16:creationId xmlns:a16="http://schemas.microsoft.com/office/drawing/2014/main" id="{588D54C6-6060-4EFD-B0A3-3A19C272912E}"/>
              </a:ext>
            </a:extLst>
          </p:cNvPr>
          <p:cNvSpPr/>
          <p:nvPr userDrawn="1"/>
        </p:nvSpPr>
        <p:spPr>
          <a:xfrm>
            <a:off x="590958" y="0"/>
            <a:ext cx="6234162" cy="4275244"/>
          </a:xfrm>
          <a:custGeom>
            <a:avLst/>
            <a:gdLst>
              <a:gd name="connsiteX0" fmla="*/ 224773 w 6234162"/>
              <a:gd name="connsiteY0" fmla="*/ 0 h 4275244"/>
              <a:gd name="connsiteX1" fmla="*/ 6009390 w 6234162"/>
              <a:gd name="connsiteY1" fmla="*/ 0 h 4275244"/>
              <a:gd name="connsiteX2" fmla="*/ 6094024 w 6234162"/>
              <a:gd name="connsiteY2" fmla="*/ 231240 h 4275244"/>
              <a:gd name="connsiteX3" fmla="*/ 6234162 w 6234162"/>
              <a:gd name="connsiteY3" fmla="*/ 1158164 h 4275244"/>
              <a:gd name="connsiteX4" fmla="*/ 3117081 w 6234162"/>
              <a:gd name="connsiteY4" fmla="*/ 4275244 h 4275244"/>
              <a:gd name="connsiteX5" fmla="*/ 0 w 6234162"/>
              <a:gd name="connsiteY5" fmla="*/ 1158164 h 4275244"/>
              <a:gd name="connsiteX6" fmla="*/ 140138 w 6234162"/>
              <a:gd name="connsiteY6" fmla="*/ 231240 h 427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4162" h="4275244">
                <a:moveTo>
                  <a:pt x="224773" y="0"/>
                </a:moveTo>
                <a:lnTo>
                  <a:pt x="6009390" y="0"/>
                </a:lnTo>
                <a:lnTo>
                  <a:pt x="6094024" y="231240"/>
                </a:lnTo>
                <a:cubicBezTo>
                  <a:pt x="6185099" y="524055"/>
                  <a:pt x="6234162" y="835380"/>
                  <a:pt x="6234162" y="1158164"/>
                </a:cubicBezTo>
                <a:cubicBezTo>
                  <a:pt x="6234162" y="2879680"/>
                  <a:pt x="4838597" y="4275244"/>
                  <a:pt x="3117081" y="4275244"/>
                </a:cubicBezTo>
                <a:cubicBezTo>
                  <a:pt x="1395565" y="4275244"/>
                  <a:pt x="0" y="2879680"/>
                  <a:pt x="0" y="1158164"/>
                </a:cubicBezTo>
                <a:cubicBezTo>
                  <a:pt x="0" y="835380"/>
                  <a:pt x="49063" y="524055"/>
                  <a:pt x="140138" y="231240"/>
                </a:cubicBez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4" name="Rectángulo 3">
            <a:extLst>
              <a:ext uri="{FF2B5EF4-FFF2-40B4-BE49-F238E27FC236}">
                <a16:creationId xmlns:a16="http://schemas.microsoft.com/office/drawing/2014/main" id="{8982829C-D174-4E44-A50A-27E2A5EF69B5}"/>
              </a:ext>
            </a:extLst>
          </p:cNvPr>
          <p:cNvSpPr/>
          <p:nvPr userDrawn="1"/>
        </p:nvSpPr>
        <p:spPr>
          <a:xfrm>
            <a:off x="596853" y="3928877"/>
            <a:ext cx="5751350" cy="2376673"/>
          </a:xfrm>
          <a:prstGeom prst="rect">
            <a:avLst/>
          </a:prstGeom>
          <a:noFill/>
          <a:ln w="12700" cap="flat" cmpd="sng" algn="ctr">
            <a:solidFill>
              <a:srgbClr val="5A2259">
                <a:alpha val="5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cxnSp>
        <p:nvCxnSpPr>
          <p:cNvPr id="5" name="Conector recto 4">
            <a:extLst>
              <a:ext uri="{FF2B5EF4-FFF2-40B4-BE49-F238E27FC236}">
                <a16:creationId xmlns:a16="http://schemas.microsoft.com/office/drawing/2014/main" id="{07725686-1765-4D39-B5F5-091C7C9289CC}"/>
              </a:ext>
            </a:extLst>
          </p:cNvPr>
          <p:cNvCxnSpPr>
            <a:cxnSpLocks/>
          </p:cNvCxnSpPr>
          <p:nvPr userDrawn="1"/>
        </p:nvCxnSpPr>
        <p:spPr>
          <a:xfrm>
            <a:off x="949601" y="5322823"/>
            <a:ext cx="0" cy="566802"/>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6" name="Rectángulo 5">
            <a:extLst>
              <a:ext uri="{FF2B5EF4-FFF2-40B4-BE49-F238E27FC236}">
                <a16:creationId xmlns:a16="http://schemas.microsoft.com/office/drawing/2014/main" id="{61101015-A574-47DB-9B8C-4F865E76CCE5}"/>
              </a:ext>
            </a:extLst>
          </p:cNvPr>
          <p:cNvSpPr/>
          <p:nvPr userDrawn="1"/>
        </p:nvSpPr>
        <p:spPr>
          <a:xfrm>
            <a:off x="716255" y="3824363"/>
            <a:ext cx="5631947" cy="1863773"/>
          </a:xfrm>
          <a:prstGeom prst="rect">
            <a:avLst/>
          </a:prstGeom>
          <a:solidFill>
            <a:schemeClr val="tx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7" name="Rectángulo 6">
            <a:extLst>
              <a:ext uri="{FF2B5EF4-FFF2-40B4-BE49-F238E27FC236}">
                <a16:creationId xmlns:a16="http://schemas.microsoft.com/office/drawing/2014/main" id="{97651F23-9E3C-466E-872B-B5FA0E91F3DD}"/>
              </a:ext>
            </a:extLst>
          </p:cNvPr>
          <p:cNvSpPr/>
          <p:nvPr userDrawn="1"/>
        </p:nvSpPr>
        <p:spPr>
          <a:xfrm>
            <a:off x="0" y="888164"/>
            <a:ext cx="243730" cy="54000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4" name="Rectángulo 13">
            <a:extLst>
              <a:ext uri="{FF2B5EF4-FFF2-40B4-BE49-F238E27FC236}">
                <a16:creationId xmlns:a16="http://schemas.microsoft.com/office/drawing/2014/main" id="{78D57CF9-A3A0-4A36-AE0F-DA407CE9BD82}"/>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7" name="Forma libre: forma 16">
            <a:extLst>
              <a:ext uri="{FF2B5EF4-FFF2-40B4-BE49-F238E27FC236}">
                <a16:creationId xmlns:a16="http://schemas.microsoft.com/office/drawing/2014/main" id="{D22FDBD4-30A9-44A7-98A9-8439D09E051A}"/>
              </a:ext>
            </a:extLst>
          </p:cNvPr>
          <p:cNvSpPr>
            <a:spLocks noGrp="1"/>
          </p:cNvSpPr>
          <p:nvPr>
            <p:ph type="pic" sz="quarter" idx="10"/>
          </p:nvPr>
        </p:nvSpPr>
        <p:spPr bwMode="auto">
          <a:xfrm>
            <a:off x="4295778" y="0"/>
            <a:ext cx="7896225" cy="6858000"/>
          </a:xfrm>
          <a:custGeom>
            <a:avLst/>
            <a:gdLst>
              <a:gd name="connsiteX0" fmla="*/ 0 w 7896225"/>
              <a:gd name="connsiteY0" fmla="*/ 0 h 6858000"/>
              <a:gd name="connsiteX1" fmla="*/ 3429000 w 7896225"/>
              <a:gd name="connsiteY1" fmla="*/ 0 h 6858000"/>
              <a:gd name="connsiteX2" fmla="*/ 5805692 w 7896225"/>
              <a:gd name="connsiteY2" fmla="*/ 0 h 6858000"/>
              <a:gd name="connsiteX3" fmla="*/ 7896225 w 7896225"/>
              <a:gd name="connsiteY3" fmla="*/ 0 h 6858000"/>
              <a:gd name="connsiteX4" fmla="*/ 7896225 w 7896225"/>
              <a:gd name="connsiteY4" fmla="*/ 6858000 h 6858000"/>
              <a:gd name="connsiteX5" fmla="*/ 3429000 w 7896225"/>
              <a:gd name="connsiteY5" fmla="*/ 6858000 h 6858000"/>
              <a:gd name="connsiteX6" fmla="*/ 0 w 7896225"/>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6225" h="6858000">
                <a:moveTo>
                  <a:pt x="0" y="0"/>
                </a:moveTo>
                <a:lnTo>
                  <a:pt x="3429000" y="0"/>
                </a:lnTo>
                <a:lnTo>
                  <a:pt x="5805692" y="0"/>
                </a:lnTo>
                <a:lnTo>
                  <a:pt x="7896225" y="0"/>
                </a:lnTo>
                <a:lnTo>
                  <a:pt x="7896225" y="6858000"/>
                </a:lnTo>
                <a:lnTo>
                  <a:pt x="3429000" y="6858000"/>
                </a:lnTo>
                <a:cubicBezTo>
                  <a:pt x="1535217" y="6858000"/>
                  <a:pt x="0" y="5322784"/>
                  <a:pt x="0" y="3429000"/>
                </a:cubicBezTo>
                <a:close/>
              </a:path>
            </a:pathLst>
          </a:custGeom>
          <a:solidFill>
            <a:schemeClr val="bg1"/>
          </a:solidFill>
          <a:ln w="9525">
            <a:noFill/>
            <a:miter lim="800000"/>
            <a:headEnd/>
            <a:tailEnd/>
          </a:ln>
        </p:spPr>
        <p:txBody>
          <a:bodyPr wrap="square" bIns="1260000" anchor="ctr">
            <a:noAutofit/>
          </a:bodyPr>
          <a:lstStyle>
            <a:lvl1pPr algn="ctr">
              <a:defRPr sz="1800" b="1"/>
            </a:lvl1pPr>
          </a:lstStyle>
          <a:p>
            <a:endParaRPr lang="en-GB"/>
          </a:p>
        </p:txBody>
      </p:sp>
      <p:sp>
        <p:nvSpPr>
          <p:cNvPr id="23" name="Marcador de texto 21">
            <a:extLst>
              <a:ext uri="{FF2B5EF4-FFF2-40B4-BE49-F238E27FC236}">
                <a16:creationId xmlns:a16="http://schemas.microsoft.com/office/drawing/2014/main" id="{D507B8B4-E19C-479C-9DE0-7123B3377FCD}"/>
              </a:ext>
            </a:extLst>
          </p:cNvPr>
          <p:cNvSpPr>
            <a:spLocks noGrp="1"/>
          </p:cNvSpPr>
          <p:nvPr>
            <p:ph type="body" sz="quarter" idx="12" hasCustomPrompt="1"/>
          </p:nvPr>
        </p:nvSpPr>
        <p:spPr>
          <a:xfrm>
            <a:off x="1093521" y="5781269"/>
            <a:ext cx="3953466" cy="497069"/>
          </a:xfrm>
        </p:spPr>
        <p:txBody>
          <a:bodyPr>
            <a:normAutofit/>
          </a:bodyPr>
          <a:lstStyle>
            <a:lvl1pPr>
              <a:defRPr sz="1400" spc="100" baseline="0">
                <a:solidFill>
                  <a:srgbClr val="5A2259">
                    <a:alpha val="55000"/>
                  </a:srgbClr>
                </a:solidFill>
              </a:defRPr>
            </a:lvl1pPr>
          </a:lstStyle>
          <a:p>
            <a:pPr lvl="0"/>
            <a:r>
              <a:rPr lang="en-US" noProof="0"/>
              <a:t>Lorem ipsum dolor sit </a:t>
            </a:r>
            <a:r>
              <a:rPr lang="en-US" noProof="0" err="1"/>
              <a:t>amet</a:t>
            </a:r>
            <a:r>
              <a:rPr lang="en-US" noProof="0"/>
              <a:t> </a:t>
            </a:r>
            <a:r>
              <a:rPr lang="en-US" noProof="0" err="1"/>
              <a:t>consectetur</a:t>
            </a:r>
            <a:r>
              <a:rPr lang="en-US" noProof="0"/>
              <a:t> </a:t>
            </a:r>
            <a:r>
              <a:rPr lang="en-US" noProof="0" err="1"/>
              <a:t>adipiscing</a:t>
            </a:r>
            <a:r>
              <a:rPr lang="en-US" noProof="0"/>
              <a:t> </a:t>
            </a:r>
            <a:r>
              <a:rPr lang="en-US" noProof="0" err="1"/>
              <a:t>elit</a:t>
            </a:r>
            <a:endParaRPr lang="en-US" noProof="0"/>
          </a:p>
        </p:txBody>
      </p:sp>
      <p:sp>
        <p:nvSpPr>
          <p:cNvPr id="24" name="Título 17">
            <a:extLst>
              <a:ext uri="{FF2B5EF4-FFF2-40B4-BE49-F238E27FC236}">
                <a16:creationId xmlns:a16="http://schemas.microsoft.com/office/drawing/2014/main" id="{1DF1DE5B-FD30-4B66-8167-26428D83AFC6}"/>
              </a:ext>
            </a:extLst>
          </p:cNvPr>
          <p:cNvSpPr>
            <a:spLocks noGrp="1"/>
          </p:cNvSpPr>
          <p:nvPr>
            <p:ph type="title" hasCustomPrompt="1"/>
          </p:nvPr>
        </p:nvSpPr>
        <p:spPr>
          <a:xfrm>
            <a:off x="1093521" y="3986157"/>
            <a:ext cx="3132000" cy="831850"/>
          </a:xfrm>
          <a:prstGeom prst="rect">
            <a:avLst/>
          </a:prstGeom>
        </p:spPr>
        <p:txBody>
          <a:bodyPr anchor="b">
            <a:normAutofit/>
          </a:bodyPr>
          <a:lstStyle>
            <a:lvl1pPr>
              <a:lnSpc>
                <a:spcPts val="2700"/>
              </a:lnSpc>
              <a:defRPr sz="2800" b="0" cap="all" spc="300" baseline="0">
                <a:solidFill>
                  <a:srgbClr val="FFFFFF"/>
                </a:solidFill>
              </a:defRPr>
            </a:lvl1pPr>
          </a:lstStyle>
          <a:p>
            <a:r>
              <a:rPr lang="en-US" noProof="0"/>
              <a:t>Title of presentation</a:t>
            </a:r>
          </a:p>
        </p:txBody>
      </p:sp>
      <p:sp>
        <p:nvSpPr>
          <p:cNvPr id="25" name="Marcador de texto 19">
            <a:extLst>
              <a:ext uri="{FF2B5EF4-FFF2-40B4-BE49-F238E27FC236}">
                <a16:creationId xmlns:a16="http://schemas.microsoft.com/office/drawing/2014/main" id="{EB4A48CE-E482-4DB4-A38F-F21F03055772}"/>
              </a:ext>
            </a:extLst>
          </p:cNvPr>
          <p:cNvSpPr>
            <a:spLocks noGrp="1"/>
          </p:cNvSpPr>
          <p:nvPr>
            <p:ph type="body" sz="quarter" idx="11" hasCustomPrompt="1"/>
          </p:nvPr>
        </p:nvSpPr>
        <p:spPr>
          <a:xfrm>
            <a:off x="1093521" y="4819207"/>
            <a:ext cx="3132000" cy="831850"/>
          </a:xfrm>
        </p:spPr>
        <p:txBody>
          <a:bodyPr>
            <a:normAutofit/>
          </a:bodyPr>
          <a:lstStyle>
            <a:lvl1pPr>
              <a:lnSpc>
                <a:spcPts val="1760"/>
              </a:lnSpc>
              <a:spcBef>
                <a:spcPts val="0"/>
              </a:spcBef>
              <a:defRPr sz="1800" b="0">
                <a:solidFill>
                  <a:srgbClr val="FFFFFF">
                    <a:alpha val="85000"/>
                  </a:srgbClr>
                </a:solidFill>
                <a:latin typeface="Franklin Gothic Medium" panose="020B0603020102020204" pitchFamily="34" charset="0"/>
              </a:defRPr>
            </a:lvl1pPr>
          </a:lstStyle>
          <a:p>
            <a:pPr lvl="0"/>
            <a:r>
              <a:rPr lang="en-US" noProof="0"/>
              <a:t>Subtitle of presentation. </a:t>
            </a:r>
          </a:p>
        </p:txBody>
      </p:sp>
      <p:pic>
        <p:nvPicPr>
          <p:cNvPr id="12" name="Picture 2">
            <a:extLst>
              <a:ext uri="{FF2B5EF4-FFF2-40B4-BE49-F238E27FC236}">
                <a16:creationId xmlns:a16="http://schemas.microsoft.com/office/drawing/2014/main" id="{C8FE2267-F533-4049-A98E-29FD204DB16A}"/>
              </a:ext>
            </a:extLst>
          </p:cNvPr>
          <p:cNvPicPr>
            <a:picLocks noChangeAspect="1"/>
          </p:cNvPicPr>
          <p:nvPr userDrawn="1"/>
        </p:nvPicPr>
        <p:blipFill>
          <a:blip r:embed="rId2"/>
          <a:srcRect/>
          <a:stretch/>
        </p:blipFill>
        <p:spPr>
          <a:xfrm>
            <a:off x="577516" y="373821"/>
            <a:ext cx="3128209" cy="1564105"/>
          </a:xfrm>
          <a:prstGeom prst="rect">
            <a:avLst/>
          </a:prstGeom>
        </p:spPr>
      </p:pic>
    </p:spTree>
    <p:extLst>
      <p:ext uri="{BB962C8B-B14F-4D97-AF65-F5344CB8AC3E}">
        <p14:creationId xmlns:p14="http://schemas.microsoft.com/office/powerpoint/2010/main" val="912075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0"/>
        <p:cNvGrpSpPr/>
        <p:nvPr/>
      </p:nvGrpSpPr>
      <p:grpSpPr>
        <a:xfrm>
          <a:off x="0" y="0"/>
          <a:ext cx="0" cy="0"/>
          <a:chOff x="0" y="0"/>
          <a:chExt cx="0" cy="0"/>
        </a:xfrm>
      </p:grpSpPr>
      <p:sp>
        <p:nvSpPr>
          <p:cNvPr id="21" name="Google Shape;21;p6"/>
          <p:cNvSpPr txBox="1">
            <a:spLocks noGrp="1"/>
          </p:cNvSpPr>
          <p:nvPr>
            <p:ph type="title"/>
          </p:nvPr>
        </p:nvSpPr>
        <p:spPr>
          <a:xfrm>
            <a:off x="609600" y="548633"/>
            <a:ext cx="10972800" cy="495200"/>
          </a:xfrm>
          <a:prstGeom prst="rect">
            <a:avLst/>
          </a:prstGeom>
        </p:spPr>
        <p:txBody>
          <a:bodyPr spcFirstLastPara="1" wrap="square" lIns="91425" tIns="91425" rIns="91425" bIns="91425" anchor="ctr" anchorCtr="0">
            <a:normAutofit/>
          </a:bodyPr>
          <a:lstStyle>
            <a:lvl1pPr lvl="0" algn="ctr">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Tree>
    <p:extLst>
      <p:ext uri="{BB962C8B-B14F-4D97-AF65-F5344CB8AC3E}">
        <p14:creationId xmlns:p14="http://schemas.microsoft.com/office/powerpoint/2010/main" val="34664912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FIND - Blank">
    <p:spTree>
      <p:nvGrpSpPr>
        <p:cNvPr id="1" name=""/>
        <p:cNvGrpSpPr/>
        <p:nvPr/>
      </p:nvGrpSpPr>
      <p:grpSpPr>
        <a:xfrm>
          <a:off x="0" y="0"/>
          <a:ext cx="0" cy="0"/>
          <a:chOff x="0" y="0"/>
          <a:chExt cx="0" cy="0"/>
        </a:xfrm>
      </p:grpSpPr>
      <p:sp>
        <p:nvSpPr>
          <p:cNvPr id="7" name="Titre 1"/>
          <p:cNvSpPr>
            <a:spLocks noGrp="1"/>
          </p:cNvSpPr>
          <p:nvPr>
            <p:ph type="title"/>
          </p:nvPr>
        </p:nvSpPr>
        <p:spPr>
          <a:xfrm>
            <a:off x="2136000" y="424343"/>
            <a:ext cx="9199395" cy="790065"/>
          </a:xfrm>
          <a:prstGeom prst="rect">
            <a:avLst/>
          </a:prstGeom>
        </p:spPr>
        <p:txBody>
          <a:bodyPr/>
          <a:lstStyle/>
          <a:p>
            <a:r>
              <a:rPr lang="en-GB" noProof="0"/>
              <a:t>Cliquez et modifiez le titre</a:t>
            </a:r>
          </a:p>
        </p:txBody>
      </p:sp>
    </p:spTree>
    <p:extLst>
      <p:ext uri="{BB962C8B-B14F-4D97-AF65-F5344CB8AC3E}">
        <p14:creationId xmlns:p14="http://schemas.microsoft.com/office/powerpoint/2010/main" val="14681566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Cover slide">
    <p:spTree>
      <p:nvGrpSpPr>
        <p:cNvPr id="1" name=""/>
        <p:cNvGrpSpPr/>
        <p:nvPr/>
      </p:nvGrpSpPr>
      <p:grpSpPr>
        <a:xfrm>
          <a:off x="0" y="0"/>
          <a:ext cx="0" cy="0"/>
          <a:chOff x="0" y="0"/>
          <a:chExt cx="0" cy="0"/>
        </a:xfrm>
      </p:grpSpPr>
      <p:sp>
        <p:nvSpPr>
          <p:cNvPr id="3" name="Forma libre 52">
            <a:extLst>
              <a:ext uri="{FF2B5EF4-FFF2-40B4-BE49-F238E27FC236}">
                <a16:creationId xmlns:a16="http://schemas.microsoft.com/office/drawing/2014/main" id="{588D54C6-6060-4EFD-B0A3-3A19C272912E}"/>
              </a:ext>
            </a:extLst>
          </p:cNvPr>
          <p:cNvSpPr/>
          <p:nvPr userDrawn="1"/>
        </p:nvSpPr>
        <p:spPr>
          <a:xfrm>
            <a:off x="590958" y="0"/>
            <a:ext cx="6234162" cy="4275244"/>
          </a:xfrm>
          <a:custGeom>
            <a:avLst/>
            <a:gdLst>
              <a:gd name="connsiteX0" fmla="*/ 224773 w 6234162"/>
              <a:gd name="connsiteY0" fmla="*/ 0 h 4275244"/>
              <a:gd name="connsiteX1" fmla="*/ 6009390 w 6234162"/>
              <a:gd name="connsiteY1" fmla="*/ 0 h 4275244"/>
              <a:gd name="connsiteX2" fmla="*/ 6094024 w 6234162"/>
              <a:gd name="connsiteY2" fmla="*/ 231240 h 4275244"/>
              <a:gd name="connsiteX3" fmla="*/ 6234162 w 6234162"/>
              <a:gd name="connsiteY3" fmla="*/ 1158164 h 4275244"/>
              <a:gd name="connsiteX4" fmla="*/ 3117081 w 6234162"/>
              <a:gd name="connsiteY4" fmla="*/ 4275244 h 4275244"/>
              <a:gd name="connsiteX5" fmla="*/ 0 w 6234162"/>
              <a:gd name="connsiteY5" fmla="*/ 1158164 h 4275244"/>
              <a:gd name="connsiteX6" fmla="*/ 140138 w 6234162"/>
              <a:gd name="connsiteY6" fmla="*/ 231240 h 427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34162" h="4275244">
                <a:moveTo>
                  <a:pt x="224773" y="0"/>
                </a:moveTo>
                <a:lnTo>
                  <a:pt x="6009390" y="0"/>
                </a:lnTo>
                <a:lnTo>
                  <a:pt x="6094024" y="231240"/>
                </a:lnTo>
                <a:cubicBezTo>
                  <a:pt x="6185099" y="524055"/>
                  <a:pt x="6234162" y="835380"/>
                  <a:pt x="6234162" y="1158164"/>
                </a:cubicBezTo>
                <a:cubicBezTo>
                  <a:pt x="6234162" y="2879680"/>
                  <a:pt x="4838597" y="4275244"/>
                  <a:pt x="3117081" y="4275244"/>
                </a:cubicBezTo>
                <a:cubicBezTo>
                  <a:pt x="1395565" y="4275244"/>
                  <a:pt x="0" y="2879680"/>
                  <a:pt x="0" y="1158164"/>
                </a:cubicBezTo>
                <a:cubicBezTo>
                  <a:pt x="0" y="835380"/>
                  <a:pt x="49063" y="524055"/>
                  <a:pt x="140138" y="231240"/>
                </a:cubicBez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4" name="Rectángulo 3">
            <a:extLst>
              <a:ext uri="{FF2B5EF4-FFF2-40B4-BE49-F238E27FC236}">
                <a16:creationId xmlns:a16="http://schemas.microsoft.com/office/drawing/2014/main" id="{8982829C-D174-4E44-A50A-27E2A5EF69B5}"/>
              </a:ext>
            </a:extLst>
          </p:cNvPr>
          <p:cNvSpPr/>
          <p:nvPr userDrawn="1"/>
        </p:nvSpPr>
        <p:spPr>
          <a:xfrm>
            <a:off x="596853" y="3928878"/>
            <a:ext cx="5751350" cy="1863774"/>
          </a:xfrm>
          <a:prstGeom prst="rect">
            <a:avLst/>
          </a:prstGeom>
          <a:noFill/>
          <a:ln w="12700" cap="flat" cmpd="sng" algn="ctr">
            <a:solidFill>
              <a:srgbClr val="5A2259">
                <a:alpha val="55000"/>
              </a:srgbClr>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6" name="Rectángulo 5">
            <a:extLst>
              <a:ext uri="{FF2B5EF4-FFF2-40B4-BE49-F238E27FC236}">
                <a16:creationId xmlns:a16="http://schemas.microsoft.com/office/drawing/2014/main" id="{61101015-A574-47DB-9B8C-4F865E76CCE5}"/>
              </a:ext>
            </a:extLst>
          </p:cNvPr>
          <p:cNvSpPr/>
          <p:nvPr userDrawn="1"/>
        </p:nvSpPr>
        <p:spPr>
          <a:xfrm>
            <a:off x="716255" y="3824363"/>
            <a:ext cx="5631947" cy="1863773"/>
          </a:xfrm>
          <a:prstGeom prst="rect">
            <a:avLst/>
          </a:prstGeom>
          <a:solidFill>
            <a:schemeClr val="accent1"/>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7" name="Rectángulo 6">
            <a:extLst>
              <a:ext uri="{FF2B5EF4-FFF2-40B4-BE49-F238E27FC236}">
                <a16:creationId xmlns:a16="http://schemas.microsoft.com/office/drawing/2014/main" id="{97651F23-9E3C-466E-872B-B5FA0E91F3DD}"/>
              </a:ext>
            </a:extLst>
          </p:cNvPr>
          <p:cNvSpPr/>
          <p:nvPr userDrawn="1"/>
        </p:nvSpPr>
        <p:spPr>
          <a:xfrm>
            <a:off x="0" y="888164"/>
            <a:ext cx="243730" cy="54000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4" name="Rectángulo 13">
            <a:extLst>
              <a:ext uri="{FF2B5EF4-FFF2-40B4-BE49-F238E27FC236}">
                <a16:creationId xmlns:a16="http://schemas.microsoft.com/office/drawing/2014/main" id="{78D57CF9-A3A0-4A36-AE0F-DA407CE9BD82}"/>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17" name="Marcador de posición de imagen 16">
            <a:extLst>
              <a:ext uri="{FF2B5EF4-FFF2-40B4-BE49-F238E27FC236}">
                <a16:creationId xmlns:a16="http://schemas.microsoft.com/office/drawing/2014/main" id="{D22FDBD4-30A9-44A7-98A9-8439D09E051A}"/>
              </a:ext>
            </a:extLst>
          </p:cNvPr>
          <p:cNvSpPr>
            <a:spLocks noGrp="1"/>
          </p:cNvSpPr>
          <p:nvPr>
            <p:ph type="pic" sz="quarter" idx="10"/>
          </p:nvPr>
        </p:nvSpPr>
        <p:spPr bwMode="auto">
          <a:xfrm>
            <a:off x="4295778" y="0"/>
            <a:ext cx="7896225" cy="6858000"/>
          </a:xfrm>
          <a:custGeom>
            <a:avLst/>
            <a:gdLst>
              <a:gd name="connsiteX0" fmla="*/ 0 w 7896225"/>
              <a:gd name="connsiteY0" fmla="*/ 0 h 6858000"/>
              <a:gd name="connsiteX1" fmla="*/ 3429000 w 7896225"/>
              <a:gd name="connsiteY1" fmla="*/ 0 h 6858000"/>
              <a:gd name="connsiteX2" fmla="*/ 5805692 w 7896225"/>
              <a:gd name="connsiteY2" fmla="*/ 0 h 6858000"/>
              <a:gd name="connsiteX3" fmla="*/ 7896225 w 7896225"/>
              <a:gd name="connsiteY3" fmla="*/ 0 h 6858000"/>
              <a:gd name="connsiteX4" fmla="*/ 7896225 w 7896225"/>
              <a:gd name="connsiteY4" fmla="*/ 6858000 h 6858000"/>
              <a:gd name="connsiteX5" fmla="*/ 3429000 w 7896225"/>
              <a:gd name="connsiteY5" fmla="*/ 6858000 h 6858000"/>
              <a:gd name="connsiteX6" fmla="*/ 0 w 7896225"/>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6225" h="6858000">
                <a:moveTo>
                  <a:pt x="0" y="0"/>
                </a:moveTo>
                <a:lnTo>
                  <a:pt x="3429000" y="0"/>
                </a:lnTo>
                <a:lnTo>
                  <a:pt x="5805692" y="0"/>
                </a:lnTo>
                <a:lnTo>
                  <a:pt x="7896225" y="0"/>
                </a:lnTo>
                <a:lnTo>
                  <a:pt x="7896225" y="6858000"/>
                </a:lnTo>
                <a:lnTo>
                  <a:pt x="3429000" y="6858000"/>
                </a:lnTo>
                <a:cubicBezTo>
                  <a:pt x="1535217" y="6858000"/>
                  <a:pt x="0" y="5322784"/>
                  <a:pt x="0" y="3429000"/>
                </a:cubicBezTo>
                <a:close/>
              </a:path>
            </a:pathLst>
          </a:custGeom>
          <a:solidFill>
            <a:schemeClr val="bg1"/>
          </a:solidFill>
          <a:ln w="9525">
            <a:noFill/>
            <a:miter lim="800000"/>
            <a:headEnd/>
            <a:tailEnd/>
          </a:ln>
        </p:spPr>
        <p:txBody>
          <a:bodyPr wrap="square" bIns="1260000" anchor="ctr">
            <a:noAutofit/>
          </a:bodyPr>
          <a:lstStyle>
            <a:lvl1pPr algn="ctr">
              <a:defRPr sz="1800" b="1"/>
            </a:lvl1pPr>
          </a:lstStyle>
          <a:p>
            <a:r>
              <a:rPr lang="en-GB"/>
              <a:t>Click icon to add picture</a:t>
            </a:r>
          </a:p>
        </p:txBody>
      </p:sp>
      <p:sp>
        <p:nvSpPr>
          <p:cNvPr id="24" name="Título 17">
            <a:extLst>
              <a:ext uri="{FF2B5EF4-FFF2-40B4-BE49-F238E27FC236}">
                <a16:creationId xmlns:a16="http://schemas.microsoft.com/office/drawing/2014/main" id="{1DF1DE5B-FD30-4B66-8167-26428D83AFC6}"/>
              </a:ext>
            </a:extLst>
          </p:cNvPr>
          <p:cNvSpPr>
            <a:spLocks noGrp="1"/>
          </p:cNvSpPr>
          <p:nvPr>
            <p:ph type="title" hasCustomPrompt="1"/>
          </p:nvPr>
        </p:nvSpPr>
        <p:spPr>
          <a:xfrm>
            <a:off x="1093521" y="3986157"/>
            <a:ext cx="3132000" cy="831850"/>
          </a:xfrm>
          <a:prstGeom prst="rect">
            <a:avLst/>
          </a:prstGeom>
        </p:spPr>
        <p:txBody>
          <a:bodyPr anchor="b">
            <a:normAutofit/>
          </a:bodyPr>
          <a:lstStyle>
            <a:lvl1pPr>
              <a:lnSpc>
                <a:spcPts val="2700"/>
              </a:lnSpc>
              <a:defRPr sz="2800" b="1" cap="all" spc="300" baseline="0">
                <a:solidFill>
                  <a:srgbClr val="FFFFFF"/>
                </a:solidFill>
                <a:latin typeface="Roboto" panose="02000000000000000000" pitchFamily="2" charset="0"/>
                <a:ea typeface="Roboto" panose="02000000000000000000" pitchFamily="2" charset="0"/>
              </a:defRPr>
            </a:lvl1pPr>
          </a:lstStyle>
          <a:p>
            <a:r>
              <a:rPr lang="en-US" noProof="0" dirty="0"/>
              <a:t>Title of presentation</a:t>
            </a:r>
          </a:p>
        </p:txBody>
      </p:sp>
      <p:sp>
        <p:nvSpPr>
          <p:cNvPr id="25" name="Marcador de texto 19">
            <a:extLst>
              <a:ext uri="{FF2B5EF4-FFF2-40B4-BE49-F238E27FC236}">
                <a16:creationId xmlns:a16="http://schemas.microsoft.com/office/drawing/2014/main" id="{EB4A48CE-E482-4DB4-A38F-F21F03055772}"/>
              </a:ext>
            </a:extLst>
          </p:cNvPr>
          <p:cNvSpPr>
            <a:spLocks noGrp="1"/>
          </p:cNvSpPr>
          <p:nvPr>
            <p:ph type="body" sz="quarter" idx="11" hasCustomPrompt="1"/>
          </p:nvPr>
        </p:nvSpPr>
        <p:spPr>
          <a:xfrm>
            <a:off x="1093521" y="4819207"/>
            <a:ext cx="3132000" cy="831850"/>
          </a:xfrm>
        </p:spPr>
        <p:txBody>
          <a:bodyPr>
            <a:normAutofit/>
          </a:bodyPr>
          <a:lstStyle>
            <a:lvl1pPr>
              <a:lnSpc>
                <a:spcPts val="1760"/>
              </a:lnSpc>
              <a:spcBef>
                <a:spcPts val="0"/>
              </a:spcBef>
              <a:defRPr sz="1800" b="1">
                <a:solidFill>
                  <a:srgbClr val="FFFFFF">
                    <a:alpha val="85000"/>
                  </a:srgbClr>
                </a:solidFill>
                <a:latin typeface="Roboto" panose="02000000000000000000" pitchFamily="2" charset="0"/>
                <a:ea typeface="Roboto" panose="02000000000000000000" pitchFamily="2" charset="0"/>
              </a:defRPr>
            </a:lvl1pPr>
          </a:lstStyle>
          <a:p>
            <a:pPr lvl="0"/>
            <a:r>
              <a:rPr lang="en-US" noProof="0"/>
              <a:t>Subtitle of presentation. </a:t>
            </a:r>
          </a:p>
        </p:txBody>
      </p:sp>
      <p:pic>
        <p:nvPicPr>
          <p:cNvPr id="12" name="Picture 2">
            <a:extLst>
              <a:ext uri="{FF2B5EF4-FFF2-40B4-BE49-F238E27FC236}">
                <a16:creationId xmlns:a16="http://schemas.microsoft.com/office/drawing/2014/main" id="{C8FE2267-F533-4049-A98E-29FD204DB16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77516" y="373821"/>
            <a:ext cx="3128209" cy="1564105"/>
          </a:xfrm>
          <a:prstGeom prst="rect">
            <a:avLst/>
          </a:prstGeom>
        </p:spPr>
      </p:pic>
    </p:spTree>
    <p:extLst>
      <p:ext uri="{BB962C8B-B14F-4D97-AF65-F5344CB8AC3E}">
        <p14:creationId xmlns:p14="http://schemas.microsoft.com/office/powerpoint/2010/main" val="3979361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2">
    <p:spTree>
      <p:nvGrpSpPr>
        <p:cNvPr id="1" name=""/>
        <p:cNvGrpSpPr/>
        <p:nvPr/>
      </p:nvGrpSpPr>
      <p:grpSpPr>
        <a:xfrm>
          <a:off x="0" y="0"/>
          <a:ext cx="0" cy="0"/>
          <a:chOff x="0" y="0"/>
          <a:chExt cx="0" cy="0"/>
        </a:xfrm>
      </p:grpSpPr>
      <p:sp>
        <p:nvSpPr>
          <p:cNvPr id="11" name="Slide Number Placeholder 5">
            <a:extLst>
              <a:ext uri="{FF2B5EF4-FFF2-40B4-BE49-F238E27FC236}">
                <a16:creationId xmlns:a16="http://schemas.microsoft.com/office/drawing/2014/main" id="{9B993DB6-AD80-FC44-97F8-B7F26E4D06EB}"/>
              </a:ext>
            </a:extLst>
          </p:cNvPr>
          <p:cNvSpPr txBox="1">
            <a:spLocks/>
          </p:cNvSpPr>
          <p:nvPr userDrawn="1"/>
        </p:nvSpPr>
        <p:spPr>
          <a:xfrm>
            <a:off x="11396786" y="6483356"/>
            <a:ext cx="234463"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defRPr/>
            </a:pPr>
            <a:fld id="{314D992F-7007-473D-9CAC-8B17A67E3C5E}" type="slidenum">
              <a:rPr lang="en-US" smtClean="0">
                <a:solidFill>
                  <a:srgbClr val="5A2259"/>
                </a:solidFill>
                <a:latin typeface="Arial"/>
              </a:rPr>
              <a:pPr>
                <a:defRPr/>
              </a:pPr>
              <a:t>‹#›</a:t>
            </a:fld>
            <a:endParaRPr lang="en-US" dirty="0">
              <a:solidFill>
                <a:srgbClr val="5A2259"/>
              </a:solidFill>
              <a:latin typeface="Arial"/>
            </a:endParaRPr>
          </a:p>
        </p:txBody>
      </p:sp>
      <p:sp>
        <p:nvSpPr>
          <p:cNvPr id="13" name="Rectángulo 12">
            <a:extLst>
              <a:ext uri="{FF2B5EF4-FFF2-40B4-BE49-F238E27FC236}">
                <a16:creationId xmlns:a16="http://schemas.microsoft.com/office/drawing/2014/main" id="{3F41F58A-0BFE-6247-A6C7-0929537201CF}"/>
              </a:ext>
            </a:extLst>
          </p:cNvPr>
          <p:cNvSpPr/>
          <p:nvPr userDrawn="1"/>
        </p:nvSpPr>
        <p:spPr>
          <a:xfrm>
            <a:off x="0" y="6768000"/>
            <a:ext cx="12192000" cy="90000"/>
          </a:xfrm>
          <a:prstGeom prst="rect">
            <a:avLst/>
          </a:prstGeom>
          <a:gradFill>
            <a:gsLst>
              <a:gs pos="0">
                <a:srgbClr val="43ABB6"/>
              </a:gs>
              <a:gs pos="100000">
                <a:srgbClr val="4C5B68"/>
              </a:gs>
            </a:gsLst>
            <a:lin ang="0" scaled="0"/>
          </a:gradFill>
          <a:ln w="952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pitchFamily="34" charset="0"/>
              <a:ea typeface="+mn-ea"/>
              <a:cs typeface="Arial" pitchFamily="34" charset="0"/>
            </a:endParaRPr>
          </a:p>
        </p:txBody>
      </p:sp>
      <p:pic>
        <p:nvPicPr>
          <p:cNvPr id="14" name="Picture 2">
            <a:extLst>
              <a:ext uri="{FF2B5EF4-FFF2-40B4-BE49-F238E27FC236}">
                <a16:creationId xmlns:a16="http://schemas.microsoft.com/office/drawing/2014/main" id="{9A6357AF-DD0B-DC40-82DC-A4F632E53C4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234863" y="-19547"/>
            <a:ext cx="1796716" cy="898358"/>
          </a:xfrm>
          <a:prstGeom prst="rect">
            <a:avLst/>
          </a:prstGeom>
        </p:spPr>
      </p:pic>
    </p:spTree>
    <p:extLst>
      <p:ext uri="{BB962C8B-B14F-4D97-AF65-F5344CB8AC3E}">
        <p14:creationId xmlns:p14="http://schemas.microsoft.com/office/powerpoint/2010/main" val="2191005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dirty="0"/>
              <a:t>Subtitle of slid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37733981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hapter slide">
    <p:spTree>
      <p:nvGrpSpPr>
        <p:cNvPr id="1" name=""/>
        <p:cNvGrpSpPr/>
        <p:nvPr/>
      </p:nvGrpSpPr>
      <p:grpSpPr>
        <a:xfrm>
          <a:off x="0" y="0"/>
          <a:ext cx="0" cy="0"/>
          <a:chOff x="0" y="0"/>
          <a:chExt cx="0" cy="0"/>
        </a:xfrm>
      </p:grpSpPr>
      <p:pic>
        <p:nvPicPr>
          <p:cNvPr id="30" name="Imagen 29">
            <a:extLst>
              <a:ext uri="{FF2B5EF4-FFF2-40B4-BE49-F238E27FC236}">
                <a16:creationId xmlns:a16="http://schemas.microsoft.com/office/drawing/2014/main" id="{552DB941-CD81-43C2-9023-BE2DBAB9502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0"/>
            <a:ext cx="8692340" cy="6858000"/>
          </a:xfrm>
          <a:prstGeom prst="rect">
            <a:avLst/>
          </a:prstGeom>
        </p:spPr>
      </p:pic>
      <p:sp>
        <p:nvSpPr>
          <p:cNvPr id="31" name="Rectángulo 30">
            <a:extLst>
              <a:ext uri="{FF2B5EF4-FFF2-40B4-BE49-F238E27FC236}">
                <a16:creationId xmlns:a16="http://schemas.microsoft.com/office/drawing/2014/main" id="{A9010316-8E0A-4F87-BC73-CAF1178827CD}"/>
              </a:ext>
            </a:extLst>
          </p:cNvPr>
          <p:cNvSpPr/>
          <p:nvPr userDrawn="1"/>
        </p:nvSpPr>
        <p:spPr>
          <a:xfrm>
            <a:off x="0" y="0"/>
            <a:ext cx="12192000" cy="6858000"/>
          </a:xfrm>
          <a:prstGeom prst="rect">
            <a:avLst/>
          </a:prstGeom>
          <a:solidFill>
            <a:srgbClr val="5A2259">
              <a:alpha val="85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rgbClr val="000000"/>
              </a:solidFill>
              <a:latin typeface="Arial" pitchFamily="34" charset="0"/>
              <a:cs typeface="Arial" pitchFamily="34" charset="0"/>
            </a:endParaRPr>
          </a:p>
        </p:txBody>
      </p:sp>
      <p:sp>
        <p:nvSpPr>
          <p:cNvPr id="33" name="Rectángulo 32">
            <a:extLst>
              <a:ext uri="{FF2B5EF4-FFF2-40B4-BE49-F238E27FC236}">
                <a16:creationId xmlns:a16="http://schemas.microsoft.com/office/drawing/2014/main" id="{CC847C2E-02D5-487A-8F06-4EE732248FE2}"/>
              </a:ext>
            </a:extLst>
          </p:cNvPr>
          <p:cNvSpPr/>
          <p:nvPr userDrawn="1"/>
        </p:nvSpPr>
        <p:spPr>
          <a:xfrm>
            <a:off x="688293" y="4750444"/>
            <a:ext cx="5751350" cy="1430306"/>
          </a:xfrm>
          <a:prstGeom prst="rect">
            <a:avLst/>
          </a:prstGeom>
          <a:noFill/>
          <a:ln w="12700" cap="flat" cmpd="sng" algn="ctr">
            <a:solidFill>
              <a:schemeClr val="bg1"/>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34" name="Rectángulo 33">
            <a:extLst>
              <a:ext uri="{FF2B5EF4-FFF2-40B4-BE49-F238E27FC236}">
                <a16:creationId xmlns:a16="http://schemas.microsoft.com/office/drawing/2014/main" id="{4D2BD5A6-0B1B-40CE-AFCE-727CAF0E0697}"/>
              </a:ext>
            </a:extLst>
          </p:cNvPr>
          <p:cNvSpPr/>
          <p:nvPr userDrawn="1"/>
        </p:nvSpPr>
        <p:spPr>
          <a:xfrm>
            <a:off x="688291" y="4040040"/>
            <a:ext cx="710203" cy="710404"/>
          </a:xfrm>
          <a:prstGeom prst="rect">
            <a:avLst/>
          </a:prstGeom>
          <a:solidFill>
            <a:schemeClr val="bg1"/>
          </a:solidFill>
          <a:ln w="1270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chemeClr val="bg1"/>
              </a:solidFill>
              <a:latin typeface="Arial" pitchFamily="34" charset="0"/>
              <a:cs typeface="Arial" pitchFamily="34" charset="0"/>
            </a:endParaRPr>
          </a:p>
        </p:txBody>
      </p:sp>
      <p:sp>
        <p:nvSpPr>
          <p:cNvPr id="40" name="Rectángulo 39">
            <a:extLst>
              <a:ext uri="{FF2B5EF4-FFF2-40B4-BE49-F238E27FC236}">
                <a16:creationId xmlns:a16="http://schemas.microsoft.com/office/drawing/2014/main" id="{46C1DD1E-A1B6-433A-9308-9E804090A231}"/>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endParaRPr lang="en-GB" sz="1400" err="1">
              <a:solidFill>
                <a:srgbClr val="000000"/>
              </a:solidFill>
              <a:latin typeface="Arial" pitchFamily="34" charset="0"/>
              <a:cs typeface="Arial" pitchFamily="34" charset="0"/>
            </a:endParaRPr>
          </a:p>
        </p:txBody>
      </p:sp>
      <p:sp>
        <p:nvSpPr>
          <p:cNvPr id="47" name="Forma libre: forma 46">
            <a:extLst>
              <a:ext uri="{FF2B5EF4-FFF2-40B4-BE49-F238E27FC236}">
                <a16:creationId xmlns:a16="http://schemas.microsoft.com/office/drawing/2014/main" id="{8C90463E-5889-4113-BAFF-4D4CF6426B90}"/>
              </a:ext>
            </a:extLst>
          </p:cNvPr>
          <p:cNvSpPr>
            <a:spLocks noGrp="1"/>
          </p:cNvSpPr>
          <p:nvPr>
            <p:ph type="pic" sz="quarter" idx="10"/>
          </p:nvPr>
        </p:nvSpPr>
        <p:spPr bwMode="auto">
          <a:xfrm>
            <a:off x="4295778" y="0"/>
            <a:ext cx="7896225" cy="6858000"/>
          </a:xfrm>
          <a:custGeom>
            <a:avLst/>
            <a:gdLst>
              <a:gd name="connsiteX0" fmla="*/ 536318 w 7896225"/>
              <a:gd name="connsiteY0" fmla="*/ 0 h 6858000"/>
              <a:gd name="connsiteX1" fmla="*/ 3429000 w 7896225"/>
              <a:gd name="connsiteY1" fmla="*/ 0 h 6858000"/>
              <a:gd name="connsiteX2" fmla="*/ 5805692 w 7896225"/>
              <a:gd name="connsiteY2" fmla="*/ 0 h 6858000"/>
              <a:gd name="connsiteX3" fmla="*/ 7896225 w 7896225"/>
              <a:gd name="connsiteY3" fmla="*/ 0 h 6858000"/>
              <a:gd name="connsiteX4" fmla="*/ 7896225 w 7896225"/>
              <a:gd name="connsiteY4" fmla="*/ 6858000 h 6858000"/>
              <a:gd name="connsiteX5" fmla="*/ 3429000 w 7896225"/>
              <a:gd name="connsiteY5" fmla="*/ 6858000 h 6858000"/>
              <a:gd name="connsiteX6" fmla="*/ 0 w 7896225"/>
              <a:gd name="connsiteY6" fmla="*/ 3429000 h 6858000"/>
              <a:gd name="connsiteX7" fmla="*/ 0 w 7896225"/>
              <a:gd name="connsiteY7" fmla="*/ 1578902 h 6858000"/>
              <a:gd name="connsiteX8" fmla="*/ 97443 w 7896225"/>
              <a:gd name="connsiteY8" fmla="*/ 1439219 h 6858000"/>
              <a:gd name="connsiteX9" fmla="*/ 526325 w 7896225"/>
              <a:gd name="connsiteY9" fmla="*/ 19789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225" h="6858000">
                <a:moveTo>
                  <a:pt x="536318" y="0"/>
                </a:moveTo>
                <a:lnTo>
                  <a:pt x="3429000" y="0"/>
                </a:lnTo>
                <a:lnTo>
                  <a:pt x="5805692" y="0"/>
                </a:lnTo>
                <a:lnTo>
                  <a:pt x="7896225" y="0"/>
                </a:lnTo>
                <a:lnTo>
                  <a:pt x="7896225" y="6858000"/>
                </a:lnTo>
                <a:lnTo>
                  <a:pt x="3429000" y="6858000"/>
                </a:lnTo>
                <a:cubicBezTo>
                  <a:pt x="1535218" y="6858000"/>
                  <a:pt x="0" y="5322784"/>
                  <a:pt x="0" y="3429000"/>
                </a:cubicBezTo>
                <a:lnTo>
                  <a:pt x="0" y="1578902"/>
                </a:lnTo>
                <a:lnTo>
                  <a:pt x="97443" y="1439219"/>
                </a:lnTo>
                <a:cubicBezTo>
                  <a:pt x="329074" y="1073090"/>
                  <a:pt x="480306" y="651045"/>
                  <a:pt x="526325" y="197896"/>
                </a:cubicBezTo>
                <a:close/>
              </a:path>
            </a:pathLst>
          </a:custGeom>
          <a:solidFill>
            <a:schemeClr val="bg1"/>
          </a:solidFill>
          <a:ln w="9525">
            <a:noFill/>
            <a:miter lim="800000"/>
            <a:headEnd/>
            <a:tailEnd/>
          </a:ln>
        </p:spPr>
        <p:txBody>
          <a:bodyPr wrap="square" bIns="1260000" anchor="ctr">
            <a:noAutofit/>
          </a:bodyPr>
          <a:lstStyle>
            <a:lvl1pPr algn="ctr">
              <a:defRPr sz="1800" b="1"/>
            </a:lvl1pPr>
          </a:lstStyle>
          <a:p>
            <a:endParaRPr lang="en-GB"/>
          </a:p>
        </p:txBody>
      </p:sp>
      <p:sp>
        <p:nvSpPr>
          <p:cNvPr id="48" name="Forma libre: forma 47">
            <a:extLst>
              <a:ext uri="{FF2B5EF4-FFF2-40B4-BE49-F238E27FC236}">
                <a16:creationId xmlns:a16="http://schemas.microsoft.com/office/drawing/2014/main" id="{54A7AC35-48B5-49F1-9EE9-6939CC5BC3F3}"/>
              </a:ext>
            </a:extLst>
          </p:cNvPr>
          <p:cNvSpPr/>
          <p:nvPr userDrawn="1"/>
        </p:nvSpPr>
        <p:spPr>
          <a:xfrm>
            <a:off x="0" y="0"/>
            <a:ext cx="4832096" cy="2779550"/>
          </a:xfrm>
          <a:custGeom>
            <a:avLst/>
            <a:gdLst>
              <a:gd name="connsiteX0" fmla="*/ 0 w 4832096"/>
              <a:gd name="connsiteY0" fmla="*/ 0 h 2779550"/>
              <a:gd name="connsiteX1" fmla="*/ 4832096 w 4832096"/>
              <a:gd name="connsiteY1" fmla="*/ 0 h 2779550"/>
              <a:gd name="connsiteX2" fmla="*/ 4822103 w 4832096"/>
              <a:gd name="connsiteY2" fmla="*/ 197896 h 2779550"/>
              <a:gd name="connsiteX3" fmla="*/ 1961275 w 4832096"/>
              <a:gd name="connsiteY3" fmla="*/ 2779550 h 2779550"/>
              <a:gd name="connsiteX4" fmla="*/ 132079 w 4832096"/>
              <a:gd name="connsiteY4" fmla="*/ 2122886 h 2779550"/>
              <a:gd name="connsiteX5" fmla="*/ 0 w 4832096"/>
              <a:gd name="connsiteY5" fmla="*/ 2002844 h 277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32096" h="2779550">
                <a:moveTo>
                  <a:pt x="0" y="0"/>
                </a:moveTo>
                <a:lnTo>
                  <a:pt x="4832096" y="0"/>
                </a:lnTo>
                <a:lnTo>
                  <a:pt x="4822103" y="197896"/>
                </a:lnTo>
                <a:cubicBezTo>
                  <a:pt x="4674840" y="1647972"/>
                  <a:pt x="3450204" y="2779550"/>
                  <a:pt x="1961275" y="2779550"/>
                </a:cubicBezTo>
                <a:cubicBezTo>
                  <a:pt x="1266442" y="2779550"/>
                  <a:pt x="629165" y="2533118"/>
                  <a:pt x="132079" y="2122886"/>
                </a:cubicBezTo>
                <a:lnTo>
                  <a:pt x="0" y="2002844"/>
                </a:ln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R="0" lvl="0" indent="0" algn="ctr" defTabSz="457200" fontAlgn="auto">
              <a:lnSpc>
                <a:spcPct val="100000"/>
              </a:lnSpc>
              <a:spcBef>
                <a:spcPts val="0"/>
              </a:spcBef>
              <a:spcAft>
                <a:spcPts val="0"/>
              </a:spcAft>
              <a:buClrTx/>
              <a:buSzTx/>
              <a:buFontTx/>
              <a:buNone/>
              <a:tabLst/>
            </a:pPr>
            <a:endParaRPr kumimoji="0" lang="en-GB" sz="1400" b="0" i="0" u="none" strike="noStrike" cap="none" spc="0" normalizeH="0" baseline="0" err="1">
              <a:ln>
                <a:noFill/>
              </a:ln>
              <a:solidFill>
                <a:srgbClr val="000000"/>
              </a:solidFill>
              <a:effectLst/>
              <a:uLnTx/>
              <a:uFillTx/>
              <a:latin typeface="Arial" pitchFamily="34" charset="0"/>
              <a:cs typeface="Arial" pitchFamily="34" charset="0"/>
            </a:endParaRPr>
          </a:p>
        </p:txBody>
      </p:sp>
      <p:sp>
        <p:nvSpPr>
          <p:cNvPr id="50" name="Título 17">
            <a:extLst>
              <a:ext uri="{FF2B5EF4-FFF2-40B4-BE49-F238E27FC236}">
                <a16:creationId xmlns:a16="http://schemas.microsoft.com/office/drawing/2014/main" id="{BFB3B7EA-0E87-4A80-A9F2-1B7D2C2D839C}"/>
              </a:ext>
            </a:extLst>
          </p:cNvPr>
          <p:cNvSpPr>
            <a:spLocks noGrp="1"/>
          </p:cNvSpPr>
          <p:nvPr>
            <p:ph type="title" hasCustomPrompt="1"/>
          </p:nvPr>
        </p:nvSpPr>
        <p:spPr>
          <a:xfrm>
            <a:off x="960171" y="4795129"/>
            <a:ext cx="3554680" cy="1340306"/>
          </a:xfrm>
          <a:prstGeom prst="rect">
            <a:avLst/>
          </a:prstGeom>
        </p:spPr>
        <p:txBody>
          <a:bodyPr anchor="ctr">
            <a:normAutofit/>
          </a:bodyPr>
          <a:lstStyle>
            <a:lvl1pPr>
              <a:lnSpc>
                <a:spcPct val="100000"/>
              </a:lnSpc>
              <a:defRPr sz="3200" b="0" cap="all" spc="300" baseline="0">
                <a:solidFill>
                  <a:srgbClr val="FFFFFF"/>
                </a:solidFill>
              </a:defRPr>
            </a:lvl1pPr>
          </a:lstStyle>
          <a:p>
            <a:r>
              <a:rPr lang="en-US" noProof="0"/>
              <a:t>Title of chapter</a:t>
            </a:r>
          </a:p>
        </p:txBody>
      </p:sp>
      <p:sp>
        <p:nvSpPr>
          <p:cNvPr id="11" name="Marcador de texto 10">
            <a:extLst>
              <a:ext uri="{FF2B5EF4-FFF2-40B4-BE49-F238E27FC236}">
                <a16:creationId xmlns:a16="http://schemas.microsoft.com/office/drawing/2014/main" id="{788D902E-AC33-418A-A733-04BA6C555701}"/>
              </a:ext>
            </a:extLst>
          </p:cNvPr>
          <p:cNvSpPr>
            <a:spLocks noGrp="1"/>
          </p:cNvSpPr>
          <p:nvPr>
            <p:ph type="body" sz="quarter" idx="11" hasCustomPrompt="1"/>
          </p:nvPr>
        </p:nvSpPr>
        <p:spPr>
          <a:xfrm>
            <a:off x="688287" y="3867150"/>
            <a:ext cx="710207" cy="1033950"/>
          </a:xfrm>
        </p:spPr>
        <p:txBody>
          <a:bodyPr anchor="ctr">
            <a:normAutofit/>
          </a:bodyPr>
          <a:lstStyle>
            <a:lvl1pPr algn="ctr">
              <a:defRPr sz="4400" b="0">
                <a:solidFill>
                  <a:srgbClr val="5A2259"/>
                </a:solidFill>
                <a:latin typeface="Franklin Gothic Medium" panose="020B0603020102020204" pitchFamily="34" charset="0"/>
              </a:defRPr>
            </a:lvl1pPr>
          </a:lstStyle>
          <a:p>
            <a:pPr lvl="0"/>
            <a:r>
              <a:rPr lang="es-ES"/>
              <a:t>#</a:t>
            </a:r>
            <a:endParaRPr lang="en-GB"/>
          </a:p>
        </p:txBody>
      </p:sp>
      <p:pic>
        <p:nvPicPr>
          <p:cNvPr id="51" name="Picture 2">
            <a:extLst>
              <a:ext uri="{FF2B5EF4-FFF2-40B4-BE49-F238E27FC236}">
                <a16:creationId xmlns:a16="http://schemas.microsoft.com/office/drawing/2014/main" id="{6E768F5F-F96A-4B3F-9D21-B9A9111F538B}"/>
              </a:ext>
            </a:extLst>
          </p:cNvPr>
          <p:cNvPicPr>
            <a:picLocks noChangeAspect="1"/>
          </p:cNvPicPr>
          <p:nvPr userDrawn="1"/>
        </p:nvPicPr>
        <p:blipFill>
          <a:blip r:embed="rId3"/>
          <a:srcRect/>
          <a:stretch/>
        </p:blipFill>
        <p:spPr>
          <a:xfrm>
            <a:off x="577516" y="373821"/>
            <a:ext cx="3128209" cy="1564105"/>
          </a:xfrm>
          <a:prstGeom prst="rect">
            <a:avLst/>
          </a:prstGeom>
        </p:spPr>
      </p:pic>
    </p:spTree>
    <p:extLst>
      <p:ext uri="{BB962C8B-B14F-4D97-AF65-F5344CB8AC3E}">
        <p14:creationId xmlns:p14="http://schemas.microsoft.com/office/powerpoint/2010/main" val="1473769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p:nvPr>
        </p:nvSpPr>
        <p:spPr/>
        <p:txBody>
          <a:bodyPr/>
          <a:lstStyle/>
          <a:p>
            <a:r>
              <a:rPr lang="es-ES"/>
              <a:t>Haga clic para modificar el estilo de título del patrón</a:t>
            </a:r>
            <a:endParaRPr lang="en-GB"/>
          </a:p>
        </p:txBody>
      </p:sp>
    </p:spTree>
    <p:extLst>
      <p:ext uri="{BB962C8B-B14F-4D97-AF65-F5344CB8AC3E}">
        <p14:creationId xmlns:p14="http://schemas.microsoft.com/office/powerpoint/2010/main" val="9265871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Blank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Marcador de texto 11">
            <a:extLst>
              <a:ext uri="{FF2B5EF4-FFF2-40B4-BE49-F238E27FC236}">
                <a16:creationId xmlns:a16="http://schemas.microsoft.com/office/drawing/2014/main" id="{C8ABE6D1-6F90-5143-9E46-81A6567A5080}"/>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Tree>
    <p:extLst>
      <p:ext uri="{BB962C8B-B14F-4D97-AF65-F5344CB8AC3E}">
        <p14:creationId xmlns:p14="http://schemas.microsoft.com/office/powerpoint/2010/main" val="2904323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ith 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7" name="Object 6"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2" name="Marcador de texto 11">
            <a:extLst>
              <a:ext uri="{FF2B5EF4-FFF2-40B4-BE49-F238E27FC236}">
                <a16:creationId xmlns:a16="http://schemas.microsoft.com/office/drawing/2014/main" id="{458CAAC6-527E-4505-8D55-67BA35AC7522}"/>
              </a:ext>
            </a:extLst>
          </p:cNvPr>
          <p:cNvSpPr>
            <a:spLocks noGrp="1"/>
          </p:cNvSpPr>
          <p:nvPr>
            <p:ph type="body" sz="quarter" idx="10" hasCustomPrompt="1"/>
          </p:nvPr>
        </p:nvSpPr>
        <p:spPr>
          <a:xfrm>
            <a:off x="5793852" y="757830"/>
            <a:ext cx="5472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3" name="Título 12">
            <a:extLst>
              <a:ext uri="{FF2B5EF4-FFF2-40B4-BE49-F238E27FC236}">
                <a16:creationId xmlns:a16="http://schemas.microsoft.com/office/drawing/2014/main" id="{F81F6864-D8D1-4F92-BE78-12A0276ADB97}"/>
              </a:ext>
            </a:extLst>
          </p:cNvPr>
          <p:cNvSpPr>
            <a:spLocks noGrp="1"/>
          </p:cNvSpPr>
          <p:nvPr>
            <p:ph type="title"/>
          </p:nvPr>
        </p:nvSpPr>
        <p:spPr>
          <a:xfrm>
            <a:off x="5793852" y="480075"/>
            <a:ext cx="4212000" cy="308122"/>
          </a:xfrm>
        </p:spPr>
        <p:txBody>
          <a:bodyPr anchor="b"/>
          <a:lstStyle/>
          <a:p>
            <a:r>
              <a:rPr lang="es-ES"/>
              <a:t>Haga clic para modificar el estilo de título del patrón</a:t>
            </a:r>
            <a:endParaRPr lang="en-GB"/>
          </a:p>
        </p:txBody>
      </p:sp>
      <p:sp>
        <p:nvSpPr>
          <p:cNvPr id="34" name="Rectángulo 33">
            <a:extLst>
              <a:ext uri="{FF2B5EF4-FFF2-40B4-BE49-F238E27FC236}">
                <a16:creationId xmlns:a16="http://schemas.microsoft.com/office/drawing/2014/main" id="{62D147B5-EDB7-42AC-A836-CF89249A01FD}"/>
              </a:ext>
            </a:extLst>
          </p:cNvPr>
          <p:cNvSpPr/>
          <p:nvPr userDrawn="1"/>
        </p:nvSpPr>
        <p:spPr>
          <a:xfrm>
            <a:off x="0" y="1431234"/>
            <a:ext cx="12192000" cy="4784035"/>
          </a:xfrm>
          <a:prstGeom prst="rect">
            <a:avLst/>
          </a:prstGeom>
          <a:solidFill>
            <a:srgbClr val="8C9EAB">
              <a:alpha val="1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35" name="Forma libre: forma 34">
            <a:extLst>
              <a:ext uri="{FF2B5EF4-FFF2-40B4-BE49-F238E27FC236}">
                <a16:creationId xmlns:a16="http://schemas.microsoft.com/office/drawing/2014/main" id="{D552286A-F49C-42E7-A348-ADA9AC8D58BD}"/>
              </a:ext>
            </a:extLst>
          </p:cNvPr>
          <p:cNvSpPr/>
          <p:nvPr userDrawn="1"/>
        </p:nvSpPr>
        <p:spPr>
          <a:xfrm flipH="1">
            <a:off x="0" y="-48126"/>
            <a:ext cx="5534526" cy="6906124"/>
          </a:xfrm>
          <a:custGeom>
            <a:avLst/>
            <a:gdLst>
              <a:gd name="connsiteX0" fmla="*/ 1135685 w 5404022"/>
              <a:gd name="connsiteY0" fmla="*/ 0 h 6857998"/>
              <a:gd name="connsiteX1" fmla="*/ 5404022 w 5404022"/>
              <a:gd name="connsiteY1" fmla="*/ 0 h 6857998"/>
              <a:gd name="connsiteX2" fmla="*/ 5404022 w 5404022"/>
              <a:gd name="connsiteY2" fmla="*/ 6857998 h 6857998"/>
              <a:gd name="connsiteX3" fmla="*/ 2689453 w 5404022"/>
              <a:gd name="connsiteY3" fmla="*/ 6857998 h 6857998"/>
              <a:gd name="connsiteX4" fmla="*/ 2607100 w 5404022"/>
              <a:gd name="connsiteY4" fmla="*/ 6825527 h 6857998"/>
              <a:gd name="connsiteX5" fmla="*/ 0 w 5404022"/>
              <a:gd name="connsiteY5" fmla="*/ 2892328 h 6857998"/>
              <a:gd name="connsiteX6" fmla="*/ 974753 w 5404022"/>
              <a:gd name="connsiteY6" fmla="*/ 17707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2" h="6857998">
                <a:moveTo>
                  <a:pt x="1135685" y="0"/>
                </a:moveTo>
                <a:lnTo>
                  <a:pt x="5404022" y="0"/>
                </a:lnTo>
                <a:lnTo>
                  <a:pt x="5404022" y="6857998"/>
                </a:lnTo>
                <a:lnTo>
                  <a:pt x="2689453" y="6857998"/>
                </a:lnTo>
                <a:lnTo>
                  <a:pt x="2607100" y="6825527"/>
                </a:lnTo>
                <a:cubicBezTo>
                  <a:pt x="1075017" y="6177511"/>
                  <a:pt x="0" y="4660461"/>
                  <a:pt x="0" y="2892328"/>
                </a:cubicBezTo>
                <a:cubicBezTo>
                  <a:pt x="0" y="1860918"/>
                  <a:pt x="365805" y="914944"/>
                  <a:pt x="974753" y="177070"/>
                </a:cubicBezTo>
                <a:close/>
              </a:path>
            </a:pathLst>
          </a:custGeom>
          <a:noFill/>
          <a:ln w="12700">
            <a:gradFill>
              <a:gsLst>
                <a:gs pos="0">
                  <a:schemeClr val="accent6"/>
                </a:gs>
                <a:gs pos="100000">
                  <a:srgbClr val="43ABB6"/>
                </a:gs>
              </a:gsLst>
              <a:lin ang="5400000" scaled="1"/>
            </a:gra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108000" rtlCol="0" anchor="t"/>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100" normalizeH="0" baseline="0" noProof="0" err="1">
              <a:ln>
                <a:noFill/>
              </a:ln>
              <a:solidFill>
                <a:srgbClr val="4C5B68"/>
              </a:solidFill>
              <a:effectLst/>
              <a:uLnTx/>
              <a:uFillTx/>
              <a:latin typeface="Arial" panose="020B0604020202020204" pitchFamily="34" charset="0"/>
              <a:ea typeface="+mn-ea"/>
              <a:cs typeface="Arial" panose="020B0604020202020204" pitchFamily="34" charset="0"/>
            </a:endParaRPr>
          </a:p>
        </p:txBody>
      </p:sp>
      <p:sp>
        <p:nvSpPr>
          <p:cNvPr id="36" name="Slide Number Placeholder 5">
            <a:extLst>
              <a:ext uri="{FF2B5EF4-FFF2-40B4-BE49-F238E27FC236}">
                <a16:creationId xmlns:a16="http://schemas.microsoft.com/office/drawing/2014/main" id="{5B692206-0B17-49CA-9101-C1F4D690BD5C}"/>
              </a:ext>
            </a:extLst>
          </p:cNvPr>
          <p:cNvSpPr txBox="1">
            <a:spLocks/>
          </p:cNvSpPr>
          <p:nvPr userDrawn="1"/>
        </p:nvSpPr>
        <p:spPr>
          <a:xfrm>
            <a:off x="560753" y="6483356"/>
            <a:ext cx="234462"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14D992F-7007-473D-9CAC-8B17A67E3C5E}" type="slidenum">
              <a:rPr kumimoji="0" lang="en-US" sz="900" b="0" i="0" u="none" strike="noStrike" kern="1200" cap="none" spc="0" normalizeH="0" baseline="0" noProof="0" smtClean="0">
                <a:ln>
                  <a:noFill/>
                </a:ln>
                <a:solidFill>
                  <a:srgbClr val="5A2259"/>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5A2259"/>
              </a:solidFill>
              <a:effectLst/>
              <a:uLnTx/>
              <a:uFillTx/>
              <a:latin typeface="Arial"/>
              <a:ea typeface="+mn-ea"/>
              <a:cs typeface="+mn-cs"/>
            </a:endParaRPr>
          </a:p>
        </p:txBody>
      </p:sp>
      <p:sp>
        <p:nvSpPr>
          <p:cNvPr id="45" name="Rectángulo redondeado 97">
            <a:extLst>
              <a:ext uri="{FF2B5EF4-FFF2-40B4-BE49-F238E27FC236}">
                <a16:creationId xmlns:a16="http://schemas.microsoft.com/office/drawing/2014/main" id="{8BD2B99C-EA8C-48D9-AF37-F29645618C28}"/>
              </a:ext>
            </a:extLst>
          </p:cNvPr>
          <p:cNvSpPr/>
          <p:nvPr userDrawn="1"/>
        </p:nvSpPr>
        <p:spPr>
          <a:xfrm>
            <a:off x="6192252" y="1782026"/>
            <a:ext cx="5037221" cy="4317857"/>
          </a:xfrm>
          <a:prstGeom prst="roundRect">
            <a:avLst>
              <a:gd name="adj" fmla="val 6244"/>
            </a:avLst>
          </a:prstGeom>
          <a:noFill/>
          <a:ln w="12700">
            <a:solidFill>
              <a:schemeClr val="accent6"/>
            </a:soli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108000" bIns="0" rtlCol="0" anchor="t"/>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en-GB" sz="1200" b="0" i="0" u="none" strike="noStrike" kern="1200" cap="none" spc="100" normalizeH="0" baseline="0" noProof="0">
              <a:ln>
                <a:noFill/>
              </a:ln>
              <a:solidFill>
                <a:srgbClr val="4C5B68"/>
              </a:solidFill>
              <a:effectLst/>
              <a:uLnTx/>
              <a:uFillTx/>
              <a:latin typeface="Arial" panose="020B0604020202020204" pitchFamily="34" charset="0"/>
              <a:ea typeface="+mn-ea"/>
              <a:cs typeface="Arial" panose="020B0604020202020204" pitchFamily="34" charset="0"/>
            </a:endParaRPr>
          </a:p>
        </p:txBody>
      </p:sp>
      <p:sp>
        <p:nvSpPr>
          <p:cNvPr id="79" name="Rectángulo redondeado 71">
            <a:extLst>
              <a:ext uri="{FF2B5EF4-FFF2-40B4-BE49-F238E27FC236}">
                <a16:creationId xmlns:a16="http://schemas.microsoft.com/office/drawing/2014/main" id="{DFC4FC1E-20C6-4661-A371-E1E4034827F7}"/>
              </a:ext>
            </a:extLst>
          </p:cNvPr>
          <p:cNvSpPr/>
          <p:nvPr userDrawn="1"/>
        </p:nvSpPr>
        <p:spPr>
          <a:xfrm>
            <a:off x="6318437" y="1540560"/>
            <a:ext cx="5041525" cy="4498759"/>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81" name="Forma libre: forma 80">
            <a:extLst>
              <a:ext uri="{FF2B5EF4-FFF2-40B4-BE49-F238E27FC236}">
                <a16:creationId xmlns:a16="http://schemas.microsoft.com/office/drawing/2014/main" id="{47C4454F-FE9E-4768-923A-E5429EA367FA}"/>
              </a:ext>
            </a:extLst>
          </p:cNvPr>
          <p:cNvSpPr>
            <a:spLocks noGrp="1"/>
          </p:cNvSpPr>
          <p:nvPr>
            <p:ph type="pic" sz="quarter" idx="11"/>
          </p:nvPr>
        </p:nvSpPr>
        <p:spPr bwMode="auto">
          <a:xfrm>
            <a:off x="1" y="2"/>
            <a:ext cx="5404021" cy="6857998"/>
          </a:xfrm>
          <a:custGeom>
            <a:avLst/>
            <a:gdLst>
              <a:gd name="connsiteX0" fmla="*/ 0 w 5404021"/>
              <a:gd name="connsiteY0" fmla="*/ 0 h 6857998"/>
              <a:gd name="connsiteX1" fmla="*/ 4268336 w 5404021"/>
              <a:gd name="connsiteY1" fmla="*/ 0 h 6857998"/>
              <a:gd name="connsiteX2" fmla="*/ 4429268 w 5404021"/>
              <a:gd name="connsiteY2" fmla="*/ 177070 h 6857998"/>
              <a:gd name="connsiteX3" fmla="*/ 5404021 w 5404021"/>
              <a:gd name="connsiteY3" fmla="*/ 2892328 h 6857998"/>
              <a:gd name="connsiteX4" fmla="*/ 2796921 w 5404021"/>
              <a:gd name="connsiteY4" fmla="*/ 6825527 h 6857998"/>
              <a:gd name="connsiteX5" fmla="*/ 2714568 w 5404021"/>
              <a:gd name="connsiteY5" fmla="*/ 6857998 h 6857998"/>
              <a:gd name="connsiteX6" fmla="*/ 0 w 5404021"/>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1" h="6857998">
                <a:moveTo>
                  <a:pt x="0" y="0"/>
                </a:moveTo>
                <a:lnTo>
                  <a:pt x="4268336" y="0"/>
                </a:lnTo>
                <a:lnTo>
                  <a:pt x="4429268" y="177070"/>
                </a:lnTo>
                <a:cubicBezTo>
                  <a:pt x="5038216" y="914944"/>
                  <a:pt x="5404021" y="1860918"/>
                  <a:pt x="5404021" y="2892328"/>
                </a:cubicBezTo>
                <a:cubicBezTo>
                  <a:pt x="5404021" y="4660461"/>
                  <a:pt x="4329004" y="6177511"/>
                  <a:pt x="2796921" y="6825527"/>
                </a:cubicBezTo>
                <a:lnTo>
                  <a:pt x="2714568" y="6857998"/>
                </a:lnTo>
                <a:lnTo>
                  <a:pt x="0" y="6857998"/>
                </a:lnTo>
                <a:close/>
              </a:path>
            </a:pathLst>
          </a:custGeom>
          <a:noFill/>
          <a:ln w="9525">
            <a:noFill/>
            <a:miter lim="800000"/>
            <a:headEnd/>
            <a:tailEnd/>
          </a:ln>
        </p:spPr>
        <p:txBody>
          <a:bodyPr wrap="square" bIns="1260000" anchor="ctr">
            <a:noAutofit/>
          </a:bodyPr>
          <a:lstStyle>
            <a:lvl1pPr algn="ctr">
              <a:defRPr sz="1800" b="1"/>
            </a:lvl1pPr>
          </a:lstStyle>
          <a:p>
            <a:endParaRPr lang="en-GB"/>
          </a:p>
        </p:txBody>
      </p:sp>
      <p:sp>
        <p:nvSpPr>
          <p:cNvPr id="3" name="Marcador de texto 2">
            <a:extLst>
              <a:ext uri="{FF2B5EF4-FFF2-40B4-BE49-F238E27FC236}">
                <a16:creationId xmlns:a16="http://schemas.microsoft.com/office/drawing/2014/main" id="{876299E4-19BE-F24A-85E8-7BE02A89B4F9}"/>
              </a:ext>
            </a:extLst>
          </p:cNvPr>
          <p:cNvSpPr>
            <a:spLocks noGrp="1"/>
          </p:cNvSpPr>
          <p:nvPr>
            <p:ph type="body" sz="quarter" idx="14"/>
          </p:nvPr>
        </p:nvSpPr>
        <p:spPr>
          <a:xfrm>
            <a:off x="6713536" y="1782024"/>
            <a:ext cx="4251325" cy="4025051"/>
          </a:xfrm>
        </p:spPr>
        <p:txBody>
          <a:bodyPr anchor="ct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n-GB"/>
          </a:p>
        </p:txBody>
      </p:sp>
    </p:spTree>
    <p:extLst>
      <p:ext uri="{BB962C8B-B14F-4D97-AF65-F5344CB8AC3E}">
        <p14:creationId xmlns:p14="http://schemas.microsoft.com/office/powerpoint/2010/main" val="32252499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9A41411-D0D6-4945-9151-683D097F7599}"/>
              </a:ext>
            </a:extLst>
          </p:cNvPr>
          <p:cNvSpPr>
            <a:spLocks noGrp="1"/>
          </p:cNvSpPr>
          <p:nvPr>
            <p:ph type="title"/>
          </p:nvPr>
        </p:nvSpPr>
        <p:spPr/>
        <p:txBody>
          <a:bodyPr/>
          <a:lstStyle/>
          <a:p>
            <a:r>
              <a:rPr lang="es-ES"/>
              <a:t>Haga clic para modificar el estilo de título del patrón</a:t>
            </a:r>
            <a:endParaRPr lang="en-GB"/>
          </a:p>
        </p:txBody>
      </p:sp>
      <p:sp>
        <p:nvSpPr>
          <p:cNvPr id="3" name="Rectángulo 2">
            <a:extLst>
              <a:ext uri="{FF2B5EF4-FFF2-40B4-BE49-F238E27FC236}">
                <a16:creationId xmlns:a16="http://schemas.microsoft.com/office/drawing/2014/main" id="{A3E05040-690F-4E98-983D-25960FB4DB04}"/>
              </a:ext>
            </a:extLst>
          </p:cNvPr>
          <p:cNvSpPr/>
          <p:nvPr userDrawn="1"/>
        </p:nvSpPr>
        <p:spPr>
          <a:xfrm>
            <a:off x="0" y="2356482"/>
            <a:ext cx="12192000" cy="2767101"/>
          </a:xfrm>
          <a:prstGeom prst="rect">
            <a:avLst/>
          </a:prstGeom>
          <a:solidFill>
            <a:srgbClr val="43ABB6">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4" name="Rectángulo redondeado 97">
            <a:extLst>
              <a:ext uri="{FF2B5EF4-FFF2-40B4-BE49-F238E27FC236}">
                <a16:creationId xmlns:a16="http://schemas.microsoft.com/office/drawing/2014/main" id="{A4FB5D33-F707-4355-AA51-EC4F3740E118}"/>
              </a:ext>
            </a:extLst>
          </p:cNvPr>
          <p:cNvSpPr/>
          <p:nvPr userDrawn="1"/>
        </p:nvSpPr>
        <p:spPr>
          <a:xfrm>
            <a:off x="547687" y="1799704"/>
            <a:ext cx="6742091" cy="3932907"/>
          </a:xfrm>
          <a:prstGeom prst="roundRect">
            <a:avLst>
              <a:gd name="adj" fmla="val 7562"/>
            </a:avLst>
          </a:prstGeom>
          <a:solidFill>
            <a:schemeClr val="bg1"/>
          </a:solidFill>
          <a:ln w="12700" cap="flat" cmpd="sng" algn="ctr">
            <a:solidFill>
              <a:srgbClr val="5A2259"/>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7" name="Rectángulo redondeado 97">
            <a:extLst>
              <a:ext uri="{FF2B5EF4-FFF2-40B4-BE49-F238E27FC236}">
                <a16:creationId xmlns:a16="http://schemas.microsoft.com/office/drawing/2014/main" id="{E3565CBD-7499-40D0-9DA8-6DD1FCE4337E}"/>
              </a:ext>
            </a:extLst>
          </p:cNvPr>
          <p:cNvSpPr/>
          <p:nvPr userDrawn="1"/>
        </p:nvSpPr>
        <p:spPr>
          <a:xfrm>
            <a:off x="8047531" y="1799704"/>
            <a:ext cx="3634804" cy="3932907"/>
          </a:xfrm>
          <a:prstGeom prst="roundRect">
            <a:avLst>
              <a:gd name="adj" fmla="val 10838"/>
            </a:avLst>
          </a:prstGeom>
          <a:noFill/>
          <a:ln w="12700" cap="flat" cmpd="sng" algn="ctr">
            <a:solidFill>
              <a:srgbClr val="D3553F"/>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1" name="Rectángulo redondeado 71">
            <a:extLst>
              <a:ext uri="{FF2B5EF4-FFF2-40B4-BE49-F238E27FC236}">
                <a16:creationId xmlns:a16="http://schemas.microsoft.com/office/drawing/2014/main" id="{56891ED6-134D-4226-83F8-62C6B3B2AC08}"/>
              </a:ext>
            </a:extLst>
          </p:cNvPr>
          <p:cNvSpPr/>
          <p:nvPr userDrawn="1"/>
        </p:nvSpPr>
        <p:spPr>
          <a:xfrm>
            <a:off x="8180512" y="1540560"/>
            <a:ext cx="3368842" cy="404209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12" name="Marcador de texto 81">
            <a:extLst>
              <a:ext uri="{FF2B5EF4-FFF2-40B4-BE49-F238E27FC236}">
                <a16:creationId xmlns:a16="http://schemas.microsoft.com/office/drawing/2014/main" id="{A85BC50F-C04E-4C6C-9A65-8EC3959EC3F9}"/>
              </a:ext>
            </a:extLst>
          </p:cNvPr>
          <p:cNvSpPr>
            <a:spLocks noGrp="1"/>
          </p:cNvSpPr>
          <p:nvPr>
            <p:ph type="body" sz="quarter" idx="12"/>
          </p:nvPr>
        </p:nvSpPr>
        <p:spPr>
          <a:xfrm>
            <a:off x="8444526" y="2163977"/>
            <a:ext cx="2840815" cy="3418675"/>
          </a:xfrm>
        </p:spPr>
        <p:txBody>
          <a:bodyPr/>
          <a:lstStyle/>
          <a:p>
            <a:pPr lvl="0"/>
            <a:r>
              <a:rPr lang="en-US" noProof="0" err="1"/>
              <a:t>Haga</a:t>
            </a:r>
            <a:r>
              <a:rPr lang="en-US" noProof="0"/>
              <a:t> </a:t>
            </a:r>
            <a:r>
              <a:rPr lang="en-US" noProof="0" err="1"/>
              <a:t>clic</a:t>
            </a:r>
            <a:r>
              <a:rPr lang="en-US" noProof="0"/>
              <a:t> para </a:t>
            </a:r>
            <a:r>
              <a:rPr lang="en-US" noProof="0" err="1"/>
              <a:t>modificar</a:t>
            </a:r>
            <a:r>
              <a:rPr lang="en-US" noProof="0"/>
              <a:t> los </a:t>
            </a:r>
            <a:r>
              <a:rPr lang="en-US" noProof="0" err="1"/>
              <a:t>estilos</a:t>
            </a:r>
            <a:r>
              <a:rPr lang="en-US" noProof="0"/>
              <a:t> de </a:t>
            </a:r>
            <a:r>
              <a:rPr lang="en-US" noProof="0" err="1"/>
              <a:t>texto</a:t>
            </a:r>
            <a:r>
              <a:rPr lang="en-US" noProof="0"/>
              <a:t> del </a:t>
            </a:r>
            <a:r>
              <a:rPr lang="en-US" noProof="0" err="1"/>
              <a:t>patrón</a:t>
            </a:r>
            <a:endParaRPr lang="en-US" noProof="0"/>
          </a:p>
          <a:p>
            <a:pPr lvl="1"/>
            <a:r>
              <a:rPr lang="en-US" noProof="0"/>
              <a:t>Segundo </a:t>
            </a:r>
            <a:r>
              <a:rPr lang="en-US" noProof="0" err="1"/>
              <a:t>nivel</a:t>
            </a:r>
            <a:endParaRPr lang="en-US" noProof="0"/>
          </a:p>
          <a:p>
            <a:pPr lvl="2"/>
            <a:r>
              <a:rPr lang="en-US" noProof="0" err="1"/>
              <a:t>Tercer</a:t>
            </a:r>
            <a:r>
              <a:rPr lang="en-US" noProof="0"/>
              <a:t> </a:t>
            </a:r>
            <a:r>
              <a:rPr lang="en-US" noProof="0" err="1"/>
              <a:t>nivel</a:t>
            </a:r>
            <a:endParaRPr lang="en-US" noProof="0"/>
          </a:p>
          <a:p>
            <a:pPr lvl="3"/>
            <a:r>
              <a:rPr lang="en-US" noProof="0"/>
              <a:t>Cuarto </a:t>
            </a:r>
            <a:r>
              <a:rPr lang="en-US" noProof="0" err="1"/>
              <a:t>nivel</a:t>
            </a:r>
            <a:endParaRPr lang="en-US" noProof="0"/>
          </a:p>
          <a:p>
            <a:pPr lvl="4"/>
            <a:r>
              <a:rPr lang="en-US" noProof="0"/>
              <a:t>Quinto </a:t>
            </a:r>
            <a:r>
              <a:rPr lang="en-US" noProof="0" err="1"/>
              <a:t>nivel</a:t>
            </a:r>
            <a:endParaRPr lang="en-US" noProof="0"/>
          </a:p>
        </p:txBody>
      </p:sp>
      <p:sp>
        <p:nvSpPr>
          <p:cNvPr id="14" name="Marcador de texto 13">
            <a:extLst>
              <a:ext uri="{FF2B5EF4-FFF2-40B4-BE49-F238E27FC236}">
                <a16:creationId xmlns:a16="http://schemas.microsoft.com/office/drawing/2014/main" id="{D01248E3-331A-4B7C-9881-6C59AC7A1610}"/>
              </a:ext>
            </a:extLst>
          </p:cNvPr>
          <p:cNvSpPr>
            <a:spLocks noGrp="1"/>
          </p:cNvSpPr>
          <p:nvPr>
            <p:ph type="body" sz="quarter" idx="13" hasCustomPrompt="1"/>
          </p:nvPr>
        </p:nvSpPr>
        <p:spPr>
          <a:xfrm>
            <a:off x="8443913" y="1703451"/>
            <a:ext cx="2841428" cy="318021"/>
          </a:xfrm>
        </p:spPr>
        <p:txBody>
          <a:bodyPr anchor="b"/>
          <a:lstStyle>
            <a:lvl1pPr>
              <a:defRPr sz="1600">
                <a:solidFill>
                  <a:srgbClr val="D3553F"/>
                </a:solidFill>
                <a:latin typeface="Franklin Gothic Medium" panose="020B0603020102020204" pitchFamily="34" charset="0"/>
              </a:defRPr>
            </a:lvl1pPr>
          </a:lstStyle>
          <a:p>
            <a:pPr lvl="0"/>
            <a:r>
              <a:rPr lang="en-US" noProof="0"/>
              <a:t>Lorem ipsum dolor</a:t>
            </a:r>
          </a:p>
        </p:txBody>
      </p:sp>
      <p:sp>
        <p:nvSpPr>
          <p:cNvPr id="17" name="Marcador de texto 16">
            <a:extLst>
              <a:ext uri="{FF2B5EF4-FFF2-40B4-BE49-F238E27FC236}">
                <a16:creationId xmlns:a16="http://schemas.microsoft.com/office/drawing/2014/main" id="{6FACE4DA-5C7C-4067-806E-D42EC9705F13}"/>
              </a:ext>
            </a:extLst>
          </p:cNvPr>
          <p:cNvSpPr>
            <a:spLocks noGrp="1"/>
          </p:cNvSpPr>
          <p:nvPr>
            <p:ph type="body" sz="quarter" idx="14" hasCustomPrompt="1"/>
          </p:nvPr>
        </p:nvSpPr>
        <p:spPr>
          <a:xfrm>
            <a:off x="746237" y="1603793"/>
            <a:ext cx="6264000" cy="243541"/>
          </a:xfrm>
        </p:spPr>
        <p:txBody>
          <a:bodyPr/>
          <a:lstStyle>
            <a:lvl1pPr>
              <a:defRPr sz="1600" b="1" cap="all" baseline="0">
                <a:solidFill>
                  <a:srgbClr val="5A2259"/>
                </a:solidFill>
                <a:latin typeface="Franklin Gothic Medium" panose="020B0603020102020204" pitchFamily="34" charset="0"/>
              </a:defRPr>
            </a:lvl1pPr>
          </a:lstStyle>
          <a:p>
            <a:pPr lvl="0"/>
            <a:r>
              <a:rPr lang="en-US" noProof="0"/>
              <a:t>Title of graph</a:t>
            </a:r>
          </a:p>
        </p:txBody>
      </p:sp>
      <p:sp>
        <p:nvSpPr>
          <p:cNvPr id="19" name="Marcador de texto 18">
            <a:extLst>
              <a:ext uri="{FF2B5EF4-FFF2-40B4-BE49-F238E27FC236}">
                <a16:creationId xmlns:a16="http://schemas.microsoft.com/office/drawing/2014/main" id="{A59B49E9-588F-4C57-B690-EEC2204E76CB}"/>
              </a:ext>
            </a:extLst>
          </p:cNvPr>
          <p:cNvSpPr>
            <a:spLocks noGrp="1"/>
          </p:cNvSpPr>
          <p:nvPr>
            <p:ph type="body" sz="quarter" idx="15" hasCustomPrompt="1"/>
          </p:nvPr>
        </p:nvSpPr>
        <p:spPr>
          <a:xfrm>
            <a:off x="746237" y="5790951"/>
            <a:ext cx="6264000" cy="550125"/>
          </a:xfrm>
        </p:spPr>
        <p:txBody>
          <a:bodyPr/>
          <a:lstStyle>
            <a:lvl1pPr>
              <a:defRPr sz="900" i="1">
                <a:solidFill>
                  <a:srgbClr val="8C9EAB"/>
                </a:solidFill>
              </a:defRPr>
            </a:lvl1pPr>
          </a:lstStyle>
          <a:p>
            <a:pPr lvl="0"/>
            <a:r>
              <a:rPr lang="en-US" noProof="0"/>
              <a:t>Graph notes</a:t>
            </a:r>
          </a:p>
        </p:txBody>
      </p:sp>
      <p:sp>
        <p:nvSpPr>
          <p:cNvPr id="21" name="Marcador de gráfico 20">
            <a:extLst>
              <a:ext uri="{FF2B5EF4-FFF2-40B4-BE49-F238E27FC236}">
                <a16:creationId xmlns:a16="http://schemas.microsoft.com/office/drawing/2014/main" id="{591C2347-0AE4-4827-A0BB-15C7D78BDFA0}"/>
              </a:ext>
            </a:extLst>
          </p:cNvPr>
          <p:cNvSpPr>
            <a:spLocks noGrp="1"/>
          </p:cNvSpPr>
          <p:nvPr>
            <p:ph type="chart" sz="quarter" idx="16"/>
          </p:nvPr>
        </p:nvSpPr>
        <p:spPr>
          <a:xfrm>
            <a:off x="746125" y="2020888"/>
            <a:ext cx="6264275" cy="3562350"/>
          </a:xfrm>
        </p:spPr>
        <p:txBody>
          <a:bodyPr bIns="1260000" anchor="ctr"/>
          <a:lstStyle>
            <a:lvl1pPr algn="ctr">
              <a:defRPr sz="1800" b="1"/>
            </a:lvl1pPr>
          </a:lstStyle>
          <a:p>
            <a:endParaRPr lang="en-GB"/>
          </a:p>
        </p:txBody>
      </p:sp>
    </p:spTree>
    <p:extLst>
      <p:ext uri="{BB962C8B-B14F-4D97-AF65-F5344CB8AC3E}">
        <p14:creationId xmlns:p14="http://schemas.microsoft.com/office/powerpoint/2010/main" val="398568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ext and graph">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A3E05040-690F-4E98-983D-25960FB4DB04}"/>
              </a:ext>
            </a:extLst>
          </p:cNvPr>
          <p:cNvSpPr/>
          <p:nvPr userDrawn="1"/>
        </p:nvSpPr>
        <p:spPr>
          <a:xfrm>
            <a:off x="0" y="2356482"/>
            <a:ext cx="12192000" cy="2767101"/>
          </a:xfrm>
          <a:prstGeom prst="rect">
            <a:avLst/>
          </a:prstGeom>
          <a:solidFill>
            <a:srgbClr val="43ABB6">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4" name="Rectángulo redondeado 97">
            <a:extLst>
              <a:ext uri="{FF2B5EF4-FFF2-40B4-BE49-F238E27FC236}">
                <a16:creationId xmlns:a16="http://schemas.microsoft.com/office/drawing/2014/main" id="{A4FB5D33-F707-4355-AA51-EC4F3740E118}"/>
              </a:ext>
            </a:extLst>
          </p:cNvPr>
          <p:cNvSpPr/>
          <p:nvPr userDrawn="1"/>
        </p:nvSpPr>
        <p:spPr>
          <a:xfrm>
            <a:off x="547687" y="1799704"/>
            <a:ext cx="6742091" cy="3932907"/>
          </a:xfrm>
          <a:prstGeom prst="roundRect">
            <a:avLst>
              <a:gd name="adj" fmla="val 7562"/>
            </a:avLst>
          </a:prstGeom>
          <a:solidFill>
            <a:schemeClr val="bg1"/>
          </a:solidFill>
          <a:ln w="12700" cap="flat" cmpd="sng" algn="ctr">
            <a:solidFill>
              <a:srgbClr val="5A2259"/>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7" name="Rectángulo redondeado 97">
            <a:extLst>
              <a:ext uri="{FF2B5EF4-FFF2-40B4-BE49-F238E27FC236}">
                <a16:creationId xmlns:a16="http://schemas.microsoft.com/office/drawing/2014/main" id="{E3565CBD-7499-40D0-9DA8-6DD1FCE4337E}"/>
              </a:ext>
            </a:extLst>
          </p:cNvPr>
          <p:cNvSpPr/>
          <p:nvPr userDrawn="1"/>
        </p:nvSpPr>
        <p:spPr>
          <a:xfrm>
            <a:off x="8047531" y="1799704"/>
            <a:ext cx="3634804" cy="3932907"/>
          </a:xfrm>
          <a:prstGeom prst="roundRect">
            <a:avLst>
              <a:gd name="adj" fmla="val 10838"/>
            </a:avLst>
          </a:prstGeom>
          <a:noFill/>
          <a:ln w="12700" cap="flat" cmpd="sng" algn="ctr">
            <a:solidFill>
              <a:srgbClr val="D3553F"/>
            </a:solidFill>
            <a:prstDash val="solid"/>
          </a:ln>
          <a:effectLst/>
        </p:spPr>
        <p:txBody>
          <a:bodyPr tIns="108000" rtlCol="0" anchor="t"/>
          <a:lstStyle/>
          <a:p>
            <a:pPr marL="0" marR="0" lvl="0" indent="0" algn="ctr" defTabSz="457200" eaLnBrk="1" fontAlgn="auto" latinLnBrk="0" hangingPunct="1">
              <a:lnSpc>
                <a:spcPts val="1600"/>
              </a:lnSpc>
              <a:spcBef>
                <a:spcPts val="0"/>
              </a:spcBef>
              <a:spcAft>
                <a:spcPts val="0"/>
              </a:spcAft>
              <a:buClrTx/>
              <a:buSzTx/>
              <a:buFontTx/>
              <a:buNone/>
              <a:tabLst/>
              <a:defRPr/>
            </a:pPr>
            <a:endParaRPr kumimoji="0" lang="en-GB" sz="1200" b="0" i="0" u="none" strike="noStrike" kern="0" cap="none" spc="100" normalizeH="0" baseline="0" noProof="0">
              <a:ln>
                <a:noFill/>
              </a:ln>
              <a:solidFill>
                <a:srgbClr val="4C5B68"/>
              </a:solidFill>
              <a:effectLst/>
              <a:uLnTx/>
              <a:uFillTx/>
              <a:latin typeface="Arial"/>
              <a:ea typeface="+mn-ea"/>
              <a:cs typeface="Arial" panose="020B0604020202020204" pitchFamily="34" charset="0"/>
            </a:endParaRPr>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591304"/>
            <a:ext cx="10440000" cy="381159"/>
          </a:xfrm>
        </p:spPr>
        <p:txBody>
          <a:bodyPr anchor="ct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1" name="Rectángulo redondeado 71">
            <a:extLst>
              <a:ext uri="{FF2B5EF4-FFF2-40B4-BE49-F238E27FC236}">
                <a16:creationId xmlns:a16="http://schemas.microsoft.com/office/drawing/2014/main" id="{56891ED6-134D-4226-83F8-62C6B3B2AC08}"/>
              </a:ext>
            </a:extLst>
          </p:cNvPr>
          <p:cNvSpPr/>
          <p:nvPr userDrawn="1"/>
        </p:nvSpPr>
        <p:spPr>
          <a:xfrm>
            <a:off x="8180512" y="1540560"/>
            <a:ext cx="3368842" cy="4042093"/>
          </a:xfrm>
          <a:prstGeom prst="roundRect">
            <a:avLst>
              <a:gd name="adj" fmla="val 5891"/>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tIns="108000" bIns="0" rtlCol="0" anchor="ctr"/>
          <a:lstStyle/>
          <a:p>
            <a:pPr lvl="0" defTabSz="457200">
              <a:lnSpc>
                <a:spcPts val="1620"/>
              </a:lnSpc>
              <a:buSzPct val="100000"/>
              <a:buFont typeface="Trebuchet MS" panose="020B0603020202020204" pitchFamily="34" charset="0"/>
              <a:buChar char="​"/>
              <a:defRPr/>
            </a:pPr>
            <a:endParaRPr lang="en-US" sz="1200" spc="100">
              <a:solidFill>
                <a:srgbClr val="4C5B68"/>
              </a:solidFill>
              <a:latin typeface="Arial" panose="020B0604020202020204" pitchFamily="34" charset="0"/>
              <a:cs typeface="Arial" panose="020B0604020202020204" pitchFamily="34" charset="0"/>
            </a:endParaRPr>
          </a:p>
        </p:txBody>
      </p:sp>
      <p:sp>
        <p:nvSpPr>
          <p:cNvPr id="12" name="Marcador de texto 81">
            <a:extLst>
              <a:ext uri="{FF2B5EF4-FFF2-40B4-BE49-F238E27FC236}">
                <a16:creationId xmlns:a16="http://schemas.microsoft.com/office/drawing/2014/main" id="{A85BC50F-C04E-4C6C-9A65-8EC3959EC3F9}"/>
              </a:ext>
            </a:extLst>
          </p:cNvPr>
          <p:cNvSpPr>
            <a:spLocks noGrp="1"/>
          </p:cNvSpPr>
          <p:nvPr>
            <p:ph type="body" sz="quarter" idx="12"/>
          </p:nvPr>
        </p:nvSpPr>
        <p:spPr>
          <a:xfrm>
            <a:off x="8444526" y="2163977"/>
            <a:ext cx="2840815" cy="3418675"/>
          </a:xfrm>
        </p:spPr>
        <p:txBody>
          <a:bodyPr/>
          <a:lstStyle/>
          <a:p>
            <a:pPr lvl="0"/>
            <a:r>
              <a:rPr lang="en-US" noProof="0" err="1"/>
              <a:t>Haga</a:t>
            </a:r>
            <a:r>
              <a:rPr lang="en-US" noProof="0"/>
              <a:t> </a:t>
            </a:r>
            <a:r>
              <a:rPr lang="en-US" noProof="0" err="1"/>
              <a:t>clic</a:t>
            </a:r>
            <a:r>
              <a:rPr lang="en-US" noProof="0"/>
              <a:t> para </a:t>
            </a:r>
            <a:r>
              <a:rPr lang="en-US" noProof="0" err="1"/>
              <a:t>modificar</a:t>
            </a:r>
            <a:r>
              <a:rPr lang="en-US" noProof="0"/>
              <a:t> los </a:t>
            </a:r>
            <a:r>
              <a:rPr lang="en-US" noProof="0" err="1"/>
              <a:t>estilos</a:t>
            </a:r>
            <a:r>
              <a:rPr lang="en-US" noProof="0"/>
              <a:t> de </a:t>
            </a:r>
            <a:r>
              <a:rPr lang="en-US" noProof="0" err="1"/>
              <a:t>texto</a:t>
            </a:r>
            <a:r>
              <a:rPr lang="en-US" noProof="0"/>
              <a:t> del </a:t>
            </a:r>
            <a:r>
              <a:rPr lang="en-US" noProof="0" err="1"/>
              <a:t>patrón</a:t>
            </a:r>
            <a:endParaRPr lang="en-US" noProof="0"/>
          </a:p>
          <a:p>
            <a:pPr lvl="1"/>
            <a:r>
              <a:rPr lang="en-US" noProof="0"/>
              <a:t>Segundo </a:t>
            </a:r>
            <a:r>
              <a:rPr lang="en-US" noProof="0" err="1"/>
              <a:t>nivel</a:t>
            </a:r>
            <a:endParaRPr lang="en-US" noProof="0"/>
          </a:p>
          <a:p>
            <a:pPr lvl="2"/>
            <a:r>
              <a:rPr lang="en-US" noProof="0" err="1"/>
              <a:t>Tercer</a:t>
            </a:r>
            <a:r>
              <a:rPr lang="en-US" noProof="0"/>
              <a:t> </a:t>
            </a:r>
            <a:r>
              <a:rPr lang="en-US" noProof="0" err="1"/>
              <a:t>nivel</a:t>
            </a:r>
            <a:endParaRPr lang="en-US" noProof="0"/>
          </a:p>
          <a:p>
            <a:pPr lvl="3"/>
            <a:r>
              <a:rPr lang="en-US" noProof="0"/>
              <a:t>Cuarto </a:t>
            </a:r>
            <a:r>
              <a:rPr lang="en-US" noProof="0" err="1"/>
              <a:t>nivel</a:t>
            </a:r>
            <a:endParaRPr lang="en-US" noProof="0"/>
          </a:p>
          <a:p>
            <a:pPr lvl="4"/>
            <a:r>
              <a:rPr lang="en-US" noProof="0"/>
              <a:t>Quinto </a:t>
            </a:r>
            <a:r>
              <a:rPr lang="en-US" noProof="0" err="1"/>
              <a:t>nivel</a:t>
            </a:r>
            <a:endParaRPr lang="en-US" noProof="0"/>
          </a:p>
        </p:txBody>
      </p:sp>
      <p:sp>
        <p:nvSpPr>
          <p:cNvPr id="14" name="Marcador de texto 13">
            <a:extLst>
              <a:ext uri="{FF2B5EF4-FFF2-40B4-BE49-F238E27FC236}">
                <a16:creationId xmlns:a16="http://schemas.microsoft.com/office/drawing/2014/main" id="{D01248E3-331A-4B7C-9881-6C59AC7A1610}"/>
              </a:ext>
            </a:extLst>
          </p:cNvPr>
          <p:cNvSpPr>
            <a:spLocks noGrp="1"/>
          </p:cNvSpPr>
          <p:nvPr>
            <p:ph type="body" sz="quarter" idx="13" hasCustomPrompt="1"/>
          </p:nvPr>
        </p:nvSpPr>
        <p:spPr>
          <a:xfrm>
            <a:off x="8443913" y="1703451"/>
            <a:ext cx="2841428" cy="318021"/>
          </a:xfrm>
        </p:spPr>
        <p:txBody>
          <a:bodyPr anchor="b"/>
          <a:lstStyle>
            <a:lvl1pPr>
              <a:defRPr sz="1600">
                <a:solidFill>
                  <a:srgbClr val="D3553F"/>
                </a:solidFill>
                <a:latin typeface="Franklin Gothic Medium" panose="020B0603020102020204" pitchFamily="34" charset="0"/>
              </a:defRPr>
            </a:lvl1pPr>
          </a:lstStyle>
          <a:p>
            <a:pPr lvl="0"/>
            <a:r>
              <a:rPr lang="en-US" noProof="0"/>
              <a:t>Lorem ipsum dolor</a:t>
            </a:r>
          </a:p>
        </p:txBody>
      </p:sp>
      <p:sp>
        <p:nvSpPr>
          <p:cNvPr id="17" name="Marcador de texto 16">
            <a:extLst>
              <a:ext uri="{FF2B5EF4-FFF2-40B4-BE49-F238E27FC236}">
                <a16:creationId xmlns:a16="http://schemas.microsoft.com/office/drawing/2014/main" id="{6FACE4DA-5C7C-4067-806E-D42EC9705F13}"/>
              </a:ext>
            </a:extLst>
          </p:cNvPr>
          <p:cNvSpPr>
            <a:spLocks noGrp="1"/>
          </p:cNvSpPr>
          <p:nvPr>
            <p:ph type="body" sz="quarter" idx="14" hasCustomPrompt="1"/>
          </p:nvPr>
        </p:nvSpPr>
        <p:spPr>
          <a:xfrm>
            <a:off x="746237" y="1603793"/>
            <a:ext cx="6264000" cy="243541"/>
          </a:xfrm>
        </p:spPr>
        <p:txBody>
          <a:bodyPr/>
          <a:lstStyle>
            <a:lvl1pPr>
              <a:defRPr sz="1600" b="1" cap="all" baseline="0">
                <a:solidFill>
                  <a:srgbClr val="5A2259"/>
                </a:solidFill>
                <a:latin typeface="Franklin Gothic Medium" panose="020B0603020102020204" pitchFamily="34" charset="0"/>
              </a:defRPr>
            </a:lvl1pPr>
          </a:lstStyle>
          <a:p>
            <a:pPr lvl="0"/>
            <a:r>
              <a:rPr lang="en-US" noProof="0"/>
              <a:t>Title of graph</a:t>
            </a:r>
          </a:p>
        </p:txBody>
      </p:sp>
      <p:sp>
        <p:nvSpPr>
          <p:cNvPr id="19" name="Marcador de texto 18">
            <a:extLst>
              <a:ext uri="{FF2B5EF4-FFF2-40B4-BE49-F238E27FC236}">
                <a16:creationId xmlns:a16="http://schemas.microsoft.com/office/drawing/2014/main" id="{A59B49E9-588F-4C57-B690-EEC2204E76CB}"/>
              </a:ext>
            </a:extLst>
          </p:cNvPr>
          <p:cNvSpPr>
            <a:spLocks noGrp="1"/>
          </p:cNvSpPr>
          <p:nvPr>
            <p:ph type="body" sz="quarter" idx="15" hasCustomPrompt="1"/>
          </p:nvPr>
        </p:nvSpPr>
        <p:spPr>
          <a:xfrm>
            <a:off x="746237" y="5790951"/>
            <a:ext cx="6264000" cy="550125"/>
          </a:xfrm>
        </p:spPr>
        <p:txBody>
          <a:bodyPr/>
          <a:lstStyle>
            <a:lvl1pPr>
              <a:defRPr sz="900" i="1">
                <a:solidFill>
                  <a:srgbClr val="8C9EAB"/>
                </a:solidFill>
              </a:defRPr>
            </a:lvl1pPr>
          </a:lstStyle>
          <a:p>
            <a:pPr lvl="0"/>
            <a:r>
              <a:rPr lang="en-US" noProof="0"/>
              <a:t>Graph notes</a:t>
            </a:r>
          </a:p>
        </p:txBody>
      </p:sp>
      <p:sp>
        <p:nvSpPr>
          <p:cNvPr id="21" name="Marcador de gráfico 20">
            <a:extLst>
              <a:ext uri="{FF2B5EF4-FFF2-40B4-BE49-F238E27FC236}">
                <a16:creationId xmlns:a16="http://schemas.microsoft.com/office/drawing/2014/main" id="{591C2347-0AE4-4827-A0BB-15C7D78BDFA0}"/>
              </a:ext>
            </a:extLst>
          </p:cNvPr>
          <p:cNvSpPr>
            <a:spLocks noGrp="1"/>
          </p:cNvSpPr>
          <p:nvPr>
            <p:ph type="chart" sz="quarter" idx="16"/>
          </p:nvPr>
        </p:nvSpPr>
        <p:spPr>
          <a:xfrm>
            <a:off x="746125" y="2020888"/>
            <a:ext cx="6264275" cy="3562350"/>
          </a:xfrm>
        </p:spPr>
        <p:txBody>
          <a:bodyPr bIns="1260000" anchor="ctr"/>
          <a:lstStyle>
            <a:lvl1pPr algn="ctr">
              <a:defRPr sz="1800" b="1"/>
            </a:lvl1pPr>
          </a:lstStyle>
          <a:p>
            <a:endParaRPr lang="en-GB"/>
          </a:p>
        </p:txBody>
      </p:sp>
    </p:spTree>
    <p:extLst>
      <p:ext uri="{BB962C8B-B14F-4D97-AF65-F5344CB8AC3E}">
        <p14:creationId xmlns:p14="http://schemas.microsoft.com/office/powerpoint/2010/main" val="22954249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text blocks">
    <p:spTree>
      <p:nvGrpSpPr>
        <p:cNvPr id="1" name=""/>
        <p:cNvGrpSpPr/>
        <p:nvPr/>
      </p:nvGrpSpPr>
      <p:grpSpPr>
        <a:xfrm>
          <a:off x="0" y="0"/>
          <a:ext cx="0" cy="0"/>
          <a:chOff x="0" y="0"/>
          <a:chExt cx="0" cy="0"/>
        </a:xfrm>
      </p:grpSpPr>
      <p:sp>
        <p:nvSpPr>
          <p:cNvPr id="13" name="Rectángulo 12">
            <a:extLst>
              <a:ext uri="{FF2B5EF4-FFF2-40B4-BE49-F238E27FC236}">
                <a16:creationId xmlns:a16="http://schemas.microsoft.com/office/drawing/2014/main" id="{4EC101F5-9D0B-4D29-8F7C-3C55FAB9A77F}"/>
              </a:ext>
            </a:extLst>
          </p:cNvPr>
          <p:cNvSpPr/>
          <p:nvPr userDrawn="1"/>
        </p:nvSpPr>
        <p:spPr>
          <a:xfrm>
            <a:off x="0" y="1542355"/>
            <a:ext cx="12192000" cy="1476908"/>
          </a:xfrm>
          <a:prstGeom prst="rect">
            <a:avLst/>
          </a:prstGeom>
          <a:solidFill>
            <a:srgbClr val="8C9EAB">
              <a:alpha val="15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16" name="Rectángulo redondeado 112">
            <a:extLst>
              <a:ext uri="{FF2B5EF4-FFF2-40B4-BE49-F238E27FC236}">
                <a16:creationId xmlns:a16="http://schemas.microsoft.com/office/drawing/2014/main" id="{2309FD08-C0E7-4117-A02B-BFC86E786E58}"/>
              </a:ext>
            </a:extLst>
          </p:cNvPr>
          <p:cNvSpPr/>
          <p:nvPr userDrawn="1"/>
        </p:nvSpPr>
        <p:spPr>
          <a:xfrm flipH="1">
            <a:off x="6096000" y="1348923"/>
            <a:ext cx="5580378" cy="1863773"/>
          </a:xfrm>
          <a:prstGeom prst="rect">
            <a:avLst/>
          </a:prstGeom>
          <a:solidFill>
            <a:srgbClr val="D3553F"/>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grpSp>
        <p:nvGrpSpPr>
          <p:cNvPr id="20" name="Grupo 19">
            <a:extLst>
              <a:ext uri="{FF2B5EF4-FFF2-40B4-BE49-F238E27FC236}">
                <a16:creationId xmlns:a16="http://schemas.microsoft.com/office/drawing/2014/main" id="{17DC9A3F-739E-4BB7-9BE4-8BC81A02F73C}"/>
              </a:ext>
            </a:extLst>
          </p:cNvPr>
          <p:cNvGrpSpPr/>
          <p:nvPr userDrawn="1"/>
        </p:nvGrpSpPr>
        <p:grpSpPr>
          <a:xfrm>
            <a:off x="5386437" y="1348923"/>
            <a:ext cx="1041631" cy="5388761"/>
            <a:chOff x="5385829" y="3721984"/>
            <a:chExt cx="1041631" cy="3046016"/>
          </a:xfrm>
        </p:grpSpPr>
        <p:sp>
          <p:nvSpPr>
            <p:cNvPr id="21" name="Rectángulo 20">
              <a:extLst>
                <a:ext uri="{FF2B5EF4-FFF2-40B4-BE49-F238E27FC236}">
                  <a16:creationId xmlns:a16="http://schemas.microsoft.com/office/drawing/2014/main" id="{81E9A4B6-B775-4B30-BE04-CA8ED3AE0B87}"/>
                </a:ext>
              </a:extLst>
            </p:cNvPr>
            <p:cNvSpPr/>
            <p:nvPr/>
          </p:nvSpPr>
          <p:spPr>
            <a:xfrm>
              <a:off x="5713633" y="3721984"/>
              <a:ext cx="713827" cy="3038759"/>
            </a:xfrm>
            <a:prstGeom prst="rect">
              <a:avLst/>
            </a:prstGeom>
            <a:solidFill>
              <a:schemeClr val="tx1">
                <a:alpha val="32000"/>
              </a:schemeClr>
            </a:solidFill>
            <a:ln w="9525">
              <a:noFill/>
            </a:ln>
            <a:effectLst>
              <a:softEdge rad="3302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22" name="Rectángulo 21">
              <a:extLst>
                <a:ext uri="{FF2B5EF4-FFF2-40B4-BE49-F238E27FC236}">
                  <a16:creationId xmlns:a16="http://schemas.microsoft.com/office/drawing/2014/main" id="{F6A0B200-0CC5-4D2A-8AAA-CD30D0FE4F39}"/>
                </a:ext>
              </a:extLst>
            </p:cNvPr>
            <p:cNvSpPr/>
            <p:nvPr/>
          </p:nvSpPr>
          <p:spPr>
            <a:xfrm>
              <a:off x="5385829" y="3729242"/>
              <a:ext cx="713827" cy="3038758"/>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grpSp>
      <p:sp>
        <p:nvSpPr>
          <p:cNvPr id="2" name="Título 1">
            <a:extLst>
              <a:ext uri="{FF2B5EF4-FFF2-40B4-BE49-F238E27FC236}">
                <a16:creationId xmlns:a16="http://schemas.microsoft.com/office/drawing/2014/main" id="{C9A41411-D0D6-4945-9151-683D097F7599}"/>
              </a:ext>
            </a:extLst>
          </p:cNvPr>
          <p:cNvSpPr>
            <a:spLocks noGrp="1"/>
          </p:cNvSpPr>
          <p:nvPr>
            <p:ph type="title"/>
          </p:nvPr>
        </p:nvSpPr>
        <p:spPr/>
        <p:txBody>
          <a:bodyPr/>
          <a:lstStyle/>
          <a:p>
            <a:r>
              <a:rPr lang="es-ES"/>
              <a:t>Haga clic para modificar el estilo de título del patrón</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18" name="Rectángulo 17">
            <a:extLst>
              <a:ext uri="{FF2B5EF4-FFF2-40B4-BE49-F238E27FC236}">
                <a16:creationId xmlns:a16="http://schemas.microsoft.com/office/drawing/2014/main" id="{F989FA77-B19D-465F-9297-6B15B31BA453}"/>
              </a:ext>
            </a:extLst>
          </p:cNvPr>
          <p:cNvSpPr/>
          <p:nvPr userDrawn="1"/>
        </p:nvSpPr>
        <p:spPr>
          <a:xfrm>
            <a:off x="348307" y="1453437"/>
            <a:ext cx="11447016" cy="1863773"/>
          </a:xfrm>
          <a:prstGeom prst="rect">
            <a:avLst/>
          </a:prstGeom>
          <a:noFill/>
          <a:ln w="12700" cap="flat" cmpd="sng" algn="ctr">
            <a:gradFill>
              <a:gsLst>
                <a:gs pos="27000">
                  <a:srgbClr val="43ABB6"/>
                </a:gs>
                <a:gs pos="52000">
                  <a:srgbClr val="D3553F"/>
                </a:gs>
              </a:gsLst>
              <a:lin ang="0" scaled="0"/>
            </a:gra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cxnSp>
        <p:nvCxnSpPr>
          <p:cNvPr id="24" name="Conector recto 23">
            <a:extLst>
              <a:ext uri="{FF2B5EF4-FFF2-40B4-BE49-F238E27FC236}">
                <a16:creationId xmlns:a16="http://schemas.microsoft.com/office/drawing/2014/main" id="{A749055D-D40F-4C57-95F4-8495AA571D9D}"/>
              </a:ext>
            </a:extLst>
          </p:cNvPr>
          <p:cNvCxnSpPr>
            <a:cxnSpLocks/>
          </p:cNvCxnSpPr>
          <p:nvPr userDrawn="1"/>
        </p:nvCxnSpPr>
        <p:spPr>
          <a:xfrm>
            <a:off x="852717" y="2859796"/>
            <a:ext cx="0" cy="883329"/>
          </a:xfrm>
          <a:prstGeom prst="line">
            <a:avLst/>
          </a:prstGeom>
          <a:ln w="12700">
            <a:solidFill>
              <a:schemeClr val="tx2"/>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cxnSp>
        <p:nvCxnSpPr>
          <p:cNvPr id="29" name="Conector recto 28">
            <a:extLst>
              <a:ext uri="{FF2B5EF4-FFF2-40B4-BE49-F238E27FC236}">
                <a16:creationId xmlns:a16="http://schemas.microsoft.com/office/drawing/2014/main" id="{D1DBE710-F316-4A46-A479-92F8C5EDBA6B}"/>
              </a:ext>
            </a:extLst>
          </p:cNvPr>
          <p:cNvCxnSpPr>
            <a:cxnSpLocks/>
          </p:cNvCxnSpPr>
          <p:nvPr userDrawn="1"/>
        </p:nvCxnSpPr>
        <p:spPr>
          <a:xfrm>
            <a:off x="6451060" y="2834396"/>
            <a:ext cx="0" cy="883329"/>
          </a:xfrm>
          <a:prstGeom prst="line">
            <a:avLst/>
          </a:prstGeom>
          <a:ln w="12700">
            <a:solidFill>
              <a:srgbClr val="D3553F"/>
            </a:solidFill>
            <a:prstDash val="dash"/>
            <a:headEnd w="lg" len="med"/>
            <a:tailEnd type="diamond" w="lg" len="lg"/>
          </a:ln>
        </p:spPr>
        <p:style>
          <a:lnRef idx="1">
            <a:schemeClr val="accent1"/>
          </a:lnRef>
          <a:fillRef idx="0">
            <a:schemeClr val="accent1"/>
          </a:fillRef>
          <a:effectRef idx="0">
            <a:schemeClr val="accent1"/>
          </a:effectRef>
          <a:fontRef idx="minor">
            <a:schemeClr val="tx1"/>
          </a:fontRef>
        </p:style>
      </p:cxnSp>
      <p:sp>
        <p:nvSpPr>
          <p:cNvPr id="25" name="Rectángulo 24">
            <a:extLst>
              <a:ext uri="{FF2B5EF4-FFF2-40B4-BE49-F238E27FC236}">
                <a16:creationId xmlns:a16="http://schemas.microsoft.com/office/drawing/2014/main" id="{577DE68B-C390-463D-9DC7-110E49B1EF8B}"/>
              </a:ext>
            </a:extLst>
          </p:cNvPr>
          <p:cNvSpPr/>
          <p:nvPr userDrawn="1"/>
        </p:nvSpPr>
        <p:spPr>
          <a:xfrm>
            <a:off x="467709" y="1348923"/>
            <a:ext cx="5631947" cy="1863773"/>
          </a:xfrm>
          <a:prstGeom prst="rect">
            <a:avLst/>
          </a:prstGeom>
          <a:solidFill>
            <a:schemeClr val="tx2"/>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6" name="Marcador de texto 5">
            <a:extLst>
              <a:ext uri="{FF2B5EF4-FFF2-40B4-BE49-F238E27FC236}">
                <a16:creationId xmlns:a16="http://schemas.microsoft.com/office/drawing/2014/main" id="{9A870F9B-D0DC-43A0-ABB3-AB968AB4D278}"/>
              </a:ext>
            </a:extLst>
          </p:cNvPr>
          <p:cNvSpPr>
            <a:spLocks noGrp="1"/>
          </p:cNvSpPr>
          <p:nvPr>
            <p:ph type="body" sz="quarter" idx="16"/>
          </p:nvPr>
        </p:nvSpPr>
        <p:spPr>
          <a:xfrm>
            <a:off x="1093346" y="3615536"/>
            <a:ext cx="4425133" cy="2484634"/>
          </a:xfrm>
        </p:spPr>
        <p:txBody>
          <a:bodyPr/>
          <a:lstStyle/>
          <a:p>
            <a:pPr lvl="0"/>
            <a:r>
              <a:rPr lang="en-US" noProof="0"/>
              <a:t>Haga clic para modificar los estilos de texto del patrón</a:t>
            </a:r>
          </a:p>
          <a:p>
            <a:pPr lvl="1"/>
            <a:r>
              <a:rPr lang="en-US" noProof="0"/>
              <a:t>Segundo nivel</a:t>
            </a:r>
          </a:p>
          <a:p>
            <a:pPr lvl="2"/>
            <a:r>
              <a:rPr lang="en-US" noProof="0"/>
              <a:t>Tercer nivel</a:t>
            </a:r>
          </a:p>
          <a:p>
            <a:pPr lvl="3"/>
            <a:r>
              <a:rPr lang="en-US" noProof="0"/>
              <a:t>Cuarto nivel</a:t>
            </a:r>
          </a:p>
          <a:p>
            <a:pPr lvl="4"/>
            <a:r>
              <a:rPr lang="en-US" noProof="0"/>
              <a:t>Quinto nivel</a:t>
            </a:r>
          </a:p>
        </p:txBody>
      </p:sp>
      <p:sp>
        <p:nvSpPr>
          <p:cNvPr id="9" name="Marcador de texto 8">
            <a:extLst>
              <a:ext uri="{FF2B5EF4-FFF2-40B4-BE49-F238E27FC236}">
                <a16:creationId xmlns:a16="http://schemas.microsoft.com/office/drawing/2014/main" id="{0D8EE4D9-40DB-41E3-9FE9-6FF0D78AF033}"/>
              </a:ext>
            </a:extLst>
          </p:cNvPr>
          <p:cNvSpPr>
            <a:spLocks noGrp="1"/>
          </p:cNvSpPr>
          <p:nvPr>
            <p:ph type="body" sz="quarter" idx="17"/>
          </p:nvPr>
        </p:nvSpPr>
        <p:spPr>
          <a:xfrm>
            <a:off x="6691689" y="3615536"/>
            <a:ext cx="4425133" cy="2484634"/>
          </a:xfrm>
        </p:spPr>
        <p:txBody>
          <a:bodyPr/>
          <a:lstStyle/>
          <a:p>
            <a:pPr lvl="0"/>
            <a:r>
              <a:rPr lang="en-US" noProof="0" err="1"/>
              <a:t>Haga</a:t>
            </a:r>
            <a:r>
              <a:rPr lang="en-US" noProof="0"/>
              <a:t> </a:t>
            </a:r>
            <a:r>
              <a:rPr lang="en-US" noProof="0" err="1"/>
              <a:t>clic</a:t>
            </a:r>
            <a:r>
              <a:rPr lang="en-US" noProof="0"/>
              <a:t> para </a:t>
            </a:r>
            <a:r>
              <a:rPr lang="en-US" noProof="0" err="1"/>
              <a:t>modificar</a:t>
            </a:r>
            <a:r>
              <a:rPr lang="en-US" noProof="0"/>
              <a:t> los </a:t>
            </a:r>
            <a:r>
              <a:rPr lang="en-US" noProof="0" err="1"/>
              <a:t>estilos</a:t>
            </a:r>
            <a:r>
              <a:rPr lang="en-US" noProof="0"/>
              <a:t> de </a:t>
            </a:r>
            <a:r>
              <a:rPr lang="en-US" noProof="0" err="1"/>
              <a:t>texto</a:t>
            </a:r>
            <a:r>
              <a:rPr lang="en-US" noProof="0"/>
              <a:t> del </a:t>
            </a:r>
            <a:r>
              <a:rPr lang="en-US" noProof="0" err="1"/>
              <a:t>patrón</a:t>
            </a:r>
            <a:endParaRPr lang="en-US" noProof="0"/>
          </a:p>
          <a:p>
            <a:pPr lvl="1"/>
            <a:r>
              <a:rPr lang="en-US" noProof="0"/>
              <a:t>Segundo </a:t>
            </a:r>
            <a:r>
              <a:rPr lang="en-US" noProof="0" err="1"/>
              <a:t>nivel</a:t>
            </a:r>
            <a:endParaRPr lang="en-US" noProof="0"/>
          </a:p>
          <a:p>
            <a:pPr lvl="2"/>
            <a:r>
              <a:rPr lang="en-US" noProof="0" err="1"/>
              <a:t>Tercer</a:t>
            </a:r>
            <a:r>
              <a:rPr lang="en-US" noProof="0"/>
              <a:t> </a:t>
            </a:r>
            <a:r>
              <a:rPr lang="en-US" noProof="0" err="1"/>
              <a:t>nivel</a:t>
            </a:r>
            <a:endParaRPr lang="en-US" noProof="0"/>
          </a:p>
          <a:p>
            <a:pPr lvl="3"/>
            <a:r>
              <a:rPr lang="en-US" noProof="0"/>
              <a:t>Cuarto </a:t>
            </a:r>
            <a:r>
              <a:rPr lang="en-US" noProof="0" err="1"/>
              <a:t>nivel</a:t>
            </a:r>
            <a:endParaRPr lang="en-US" noProof="0"/>
          </a:p>
          <a:p>
            <a:pPr lvl="4"/>
            <a:r>
              <a:rPr lang="en-US" noProof="0"/>
              <a:t>Quinto </a:t>
            </a:r>
            <a:r>
              <a:rPr lang="en-US" noProof="0" err="1"/>
              <a:t>nivel</a:t>
            </a:r>
            <a:endParaRPr lang="en-US" noProof="0"/>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882103" y="1614579"/>
            <a:ext cx="4644000" cy="394910"/>
          </a:xfrm>
        </p:spPr>
        <p:txBody>
          <a:bodyPr anchor="ctr"/>
          <a:lstStyle>
            <a:lvl1pPr>
              <a:defRPr sz="2800" b="1">
                <a:solidFill>
                  <a:srgbClr val="FFFFFF"/>
                </a:solidFill>
                <a:latin typeface="Franklin Gothic Medium" panose="020B0603020102020204" pitchFamily="34" charset="0"/>
              </a:defRPr>
            </a:lvl1pPr>
          </a:lstStyle>
          <a:p>
            <a:pPr lvl="0"/>
            <a:r>
              <a:rPr lang="en-US" noProof="0"/>
              <a:t>Title</a:t>
            </a:r>
          </a:p>
        </p:txBody>
      </p:sp>
      <p:sp>
        <p:nvSpPr>
          <p:cNvPr id="34" name="Marcador de texto 33">
            <a:extLst>
              <a:ext uri="{FF2B5EF4-FFF2-40B4-BE49-F238E27FC236}">
                <a16:creationId xmlns:a16="http://schemas.microsoft.com/office/drawing/2014/main" id="{3A7B9A7A-18B8-4968-BA6B-C82CA0F5CDFD}"/>
              </a:ext>
            </a:extLst>
          </p:cNvPr>
          <p:cNvSpPr>
            <a:spLocks noGrp="1"/>
          </p:cNvSpPr>
          <p:nvPr>
            <p:ph type="body" sz="quarter" idx="19" hasCustomPrompt="1"/>
          </p:nvPr>
        </p:nvSpPr>
        <p:spPr>
          <a:xfrm>
            <a:off x="882103" y="2032961"/>
            <a:ext cx="4644000" cy="986302"/>
          </a:xfrm>
        </p:spPr>
        <p:txBody>
          <a:bodyPr/>
          <a:lstStyle>
            <a:lvl1pPr>
              <a:defRPr sz="1400" baseline="0">
                <a:solidFill>
                  <a:schemeClr val="bg1">
                    <a:alpha val="75000"/>
                  </a:schemeClr>
                </a:solidFill>
              </a:defRPr>
            </a:lvl1pPr>
          </a:lstStyle>
          <a:p>
            <a:pPr lvl="0"/>
            <a:r>
              <a:rPr lang="en-US" noProof="0"/>
              <a:t>Lorem ipsum dolor sit amet</a:t>
            </a:r>
          </a:p>
        </p:txBody>
      </p:sp>
      <p:sp>
        <p:nvSpPr>
          <p:cNvPr id="37" name="Marcador de texto 31">
            <a:extLst>
              <a:ext uri="{FF2B5EF4-FFF2-40B4-BE49-F238E27FC236}">
                <a16:creationId xmlns:a16="http://schemas.microsoft.com/office/drawing/2014/main" id="{9551043E-38D0-497E-8ACD-F227943B8EDA}"/>
              </a:ext>
            </a:extLst>
          </p:cNvPr>
          <p:cNvSpPr>
            <a:spLocks noGrp="1"/>
          </p:cNvSpPr>
          <p:nvPr>
            <p:ph type="body" sz="quarter" idx="20" hasCustomPrompt="1"/>
          </p:nvPr>
        </p:nvSpPr>
        <p:spPr>
          <a:xfrm>
            <a:off x="6447963" y="1621924"/>
            <a:ext cx="4644000" cy="394910"/>
          </a:xfrm>
        </p:spPr>
        <p:txBody>
          <a:bodyPr anchor="ctr"/>
          <a:lstStyle>
            <a:lvl1pPr>
              <a:defRPr sz="2800" b="1">
                <a:solidFill>
                  <a:srgbClr val="FFFFFF"/>
                </a:solidFill>
                <a:latin typeface="Franklin Gothic Medium" panose="020B0603020102020204" pitchFamily="34" charset="0"/>
              </a:defRPr>
            </a:lvl1pPr>
          </a:lstStyle>
          <a:p>
            <a:pPr lvl="0"/>
            <a:r>
              <a:rPr lang="en-US" noProof="0"/>
              <a:t>Title</a:t>
            </a:r>
          </a:p>
        </p:txBody>
      </p:sp>
      <p:sp>
        <p:nvSpPr>
          <p:cNvPr id="38" name="Marcador de texto 33">
            <a:extLst>
              <a:ext uri="{FF2B5EF4-FFF2-40B4-BE49-F238E27FC236}">
                <a16:creationId xmlns:a16="http://schemas.microsoft.com/office/drawing/2014/main" id="{DCC3E33E-CD51-4D68-AC6D-45EE4329382C}"/>
              </a:ext>
            </a:extLst>
          </p:cNvPr>
          <p:cNvSpPr>
            <a:spLocks noGrp="1"/>
          </p:cNvSpPr>
          <p:nvPr>
            <p:ph type="body" sz="quarter" idx="21" hasCustomPrompt="1"/>
          </p:nvPr>
        </p:nvSpPr>
        <p:spPr>
          <a:xfrm>
            <a:off x="6447963" y="2040306"/>
            <a:ext cx="4644000" cy="986302"/>
          </a:xfrm>
        </p:spPr>
        <p:txBody>
          <a:bodyPr/>
          <a:lstStyle>
            <a:lvl1pPr>
              <a:defRPr sz="1400" baseline="0">
                <a:solidFill>
                  <a:schemeClr val="bg1">
                    <a:alpha val="75000"/>
                  </a:schemeClr>
                </a:solidFill>
              </a:defRPr>
            </a:lvl1pPr>
          </a:lstStyle>
          <a:p>
            <a:pPr lvl="0"/>
            <a:r>
              <a:rPr lang="en-US" noProof="0"/>
              <a:t>Lorem ipsum dolor sit amet</a:t>
            </a:r>
          </a:p>
        </p:txBody>
      </p:sp>
    </p:spTree>
    <p:extLst>
      <p:ext uri="{BB962C8B-B14F-4D97-AF65-F5344CB8AC3E}">
        <p14:creationId xmlns:p14="http://schemas.microsoft.com/office/powerpoint/2010/main" val="26714667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information">
    <p:spTree>
      <p:nvGrpSpPr>
        <p:cNvPr id="1" name=""/>
        <p:cNvGrpSpPr/>
        <p:nvPr/>
      </p:nvGrpSpPr>
      <p:grpSpPr>
        <a:xfrm>
          <a:off x="0" y="0"/>
          <a:ext cx="0" cy="0"/>
          <a:chOff x="0" y="0"/>
          <a:chExt cx="0" cy="0"/>
        </a:xfrm>
      </p:grpSpPr>
      <p:sp>
        <p:nvSpPr>
          <p:cNvPr id="19" name="Rectángulo 18">
            <a:extLst>
              <a:ext uri="{FF2B5EF4-FFF2-40B4-BE49-F238E27FC236}">
                <a16:creationId xmlns:a16="http://schemas.microsoft.com/office/drawing/2014/main" id="{99DF4E13-A196-4A1F-982F-A79E11E60F28}"/>
              </a:ext>
            </a:extLst>
          </p:cNvPr>
          <p:cNvSpPr/>
          <p:nvPr userDrawn="1"/>
        </p:nvSpPr>
        <p:spPr>
          <a:xfrm>
            <a:off x="0" y="2257623"/>
            <a:ext cx="12192000" cy="3392740"/>
          </a:xfrm>
          <a:prstGeom prst="rect">
            <a:avLst/>
          </a:prstGeom>
          <a:solidFill>
            <a:srgbClr val="D3553F">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23" name="Rectángulo 22">
            <a:extLst>
              <a:ext uri="{FF2B5EF4-FFF2-40B4-BE49-F238E27FC236}">
                <a16:creationId xmlns:a16="http://schemas.microsoft.com/office/drawing/2014/main" id="{F03D36B0-D8D7-4719-A74B-706B315234CA}"/>
              </a:ext>
            </a:extLst>
          </p:cNvPr>
          <p:cNvSpPr/>
          <p:nvPr userDrawn="1"/>
        </p:nvSpPr>
        <p:spPr>
          <a:xfrm>
            <a:off x="2883635" y="1833800"/>
            <a:ext cx="6607561" cy="1702587"/>
          </a:xfrm>
          <a:prstGeom prst="rect">
            <a:avLst/>
          </a:prstGeom>
          <a:solidFill>
            <a:schemeClr val="tx1">
              <a:alpha val="31000"/>
            </a:schemeClr>
          </a:solidFill>
          <a:ln>
            <a:noFill/>
          </a:ln>
          <a:effectLst>
            <a:softEdge rad="203200"/>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100" normalizeH="0" baseline="0" noProof="0">
              <a:ln>
                <a:noFill/>
              </a:ln>
              <a:solidFill>
                <a:srgbClr val="C5CED5"/>
              </a:solidFill>
              <a:effectLst/>
              <a:uLnTx/>
              <a:uFillTx/>
              <a:latin typeface="Arial" panose="020B0604020202020204" pitchFamily="34" charset="0"/>
              <a:ea typeface="+mn-ea"/>
              <a:cs typeface="Arial" panose="020B0604020202020204" pitchFamily="34" charset="0"/>
            </a:endParaRPr>
          </a:p>
        </p:txBody>
      </p:sp>
      <p:sp>
        <p:nvSpPr>
          <p:cNvPr id="26" name="Rectángulo 25">
            <a:extLst>
              <a:ext uri="{FF2B5EF4-FFF2-40B4-BE49-F238E27FC236}">
                <a16:creationId xmlns:a16="http://schemas.microsoft.com/office/drawing/2014/main" id="{B613C63C-FDC8-46A5-9FB2-C9505D609D48}"/>
              </a:ext>
            </a:extLst>
          </p:cNvPr>
          <p:cNvSpPr/>
          <p:nvPr userDrawn="1"/>
        </p:nvSpPr>
        <p:spPr>
          <a:xfrm>
            <a:off x="2747610" y="1833799"/>
            <a:ext cx="6567115" cy="1702588"/>
          </a:xfrm>
          <a:prstGeom prst="rect">
            <a:avLst/>
          </a:prstGeom>
          <a:noFill/>
          <a:ln w="12700">
            <a:solidFill>
              <a:srgbClr val="43ABB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100" normalizeH="0" baseline="0" noProof="0">
              <a:ln>
                <a:noFill/>
              </a:ln>
              <a:solidFill>
                <a:srgbClr val="C5CED5"/>
              </a:solidFill>
              <a:effectLst/>
              <a:uLnTx/>
              <a:uFillTx/>
              <a:latin typeface="Arial" panose="020B0604020202020204" pitchFamily="34" charset="0"/>
              <a:ea typeface="+mn-ea"/>
              <a:cs typeface="Arial" panose="020B0604020202020204" pitchFamily="34" charset="0"/>
            </a:endParaRPr>
          </a:p>
        </p:txBody>
      </p:sp>
      <p:sp>
        <p:nvSpPr>
          <p:cNvPr id="27" name="Rectángulo 26">
            <a:extLst>
              <a:ext uri="{FF2B5EF4-FFF2-40B4-BE49-F238E27FC236}">
                <a16:creationId xmlns:a16="http://schemas.microsoft.com/office/drawing/2014/main" id="{05BFB397-0A46-4C7C-A573-9FE7441CDA01}"/>
              </a:ext>
            </a:extLst>
          </p:cNvPr>
          <p:cNvSpPr/>
          <p:nvPr userDrawn="1"/>
        </p:nvSpPr>
        <p:spPr>
          <a:xfrm>
            <a:off x="2877267" y="1833798"/>
            <a:ext cx="6437465" cy="1702589"/>
          </a:xfrm>
          <a:prstGeom prst="rect">
            <a:avLst/>
          </a:prstGeom>
          <a:solidFill>
            <a:srgbClr val="43ABB6"/>
          </a:solidFill>
          <a:ln>
            <a:no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endParaRPr lang="en-GB" sz="1400" spc="100">
              <a:solidFill>
                <a:srgbClr val="FFFFFF">
                  <a:alpha val="75000"/>
                </a:srgbClr>
              </a:solidFill>
              <a:latin typeface="Arial" panose="020B0604020202020204" pitchFamily="34" charset="0"/>
              <a:cs typeface="Arial" panose="020B0604020202020204" pitchFamily="34" charset="0"/>
            </a:endParaRPr>
          </a:p>
        </p:txBody>
      </p:sp>
      <p:sp>
        <p:nvSpPr>
          <p:cNvPr id="2" name="Título 1">
            <a:extLst>
              <a:ext uri="{FF2B5EF4-FFF2-40B4-BE49-F238E27FC236}">
                <a16:creationId xmlns:a16="http://schemas.microsoft.com/office/drawing/2014/main" id="{C9A41411-D0D6-4945-9151-683D097F7599}"/>
              </a:ext>
            </a:extLst>
          </p:cNvPr>
          <p:cNvSpPr>
            <a:spLocks noGrp="1"/>
          </p:cNvSpPr>
          <p:nvPr>
            <p:ph type="title"/>
          </p:nvPr>
        </p:nvSpPr>
        <p:spPr/>
        <p:txBody>
          <a:bodyPr/>
          <a:lstStyle/>
          <a:p>
            <a:r>
              <a:rPr lang="es-ES"/>
              <a:t>Haga clic para modificar el estilo de título del patrón</a:t>
            </a:r>
            <a:endParaRPr lang="en-GB"/>
          </a:p>
        </p:txBody>
      </p:sp>
      <p:sp>
        <p:nvSpPr>
          <p:cNvPr id="10" name="Marcador de texto 11">
            <a:extLst>
              <a:ext uri="{FF2B5EF4-FFF2-40B4-BE49-F238E27FC236}">
                <a16:creationId xmlns:a16="http://schemas.microsoft.com/office/drawing/2014/main" id="{E87E5760-A6CE-47C4-AD8C-D22944B09315}"/>
              </a:ext>
            </a:extLst>
          </p:cNvPr>
          <p:cNvSpPr>
            <a:spLocks noGrp="1"/>
          </p:cNvSpPr>
          <p:nvPr>
            <p:ph type="body" sz="quarter" idx="10" hasCustomPrompt="1"/>
          </p:nvPr>
        </p:nvSpPr>
        <p:spPr>
          <a:xfrm>
            <a:off x="644336" y="757830"/>
            <a:ext cx="10440000" cy="381159"/>
          </a:xfrm>
        </p:spPr>
        <p:txBody>
          <a:bodyPr/>
          <a:lstStyle>
            <a:lvl1pPr>
              <a:defRPr sz="2200" b="0" cap="all" spc="300" baseline="0">
                <a:solidFill>
                  <a:srgbClr val="5A2259"/>
                </a:solidFill>
                <a:latin typeface="Franklin Gothic Medium" panose="020B0603020102020204" pitchFamily="34" charset="0"/>
              </a:defRPr>
            </a:lvl1pPr>
          </a:lstStyle>
          <a:p>
            <a:pPr lvl="0"/>
            <a:r>
              <a:rPr lang="en-US" noProof="0"/>
              <a:t>Subtitle of slide</a:t>
            </a:r>
          </a:p>
        </p:txBody>
      </p:sp>
      <p:sp>
        <p:nvSpPr>
          <p:cNvPr id="32" name="Marcador de texto 31">
            <a:extLst>
              <a:ext uri="{FF2B5EF4-FFF2-40B4-BE49-F238E27FC236}">
                <a16:creationId xmlns:a16="http://schemas.microsoft.com/office/drawing/2014/main" id="{12096F7E-5977-4FBA-BA7D-C1E063EACDE1}"/>
              </a:ext>
            </a:extLst>
          </p:cNvPr>
          <p:cNvSpPr>
            <a:spLocks noGrp="1"/>
          </p:cNvSpPr>
          <p:nvPr>
            <p:ph type="body" sz="quarter" idx="18" hasCustomPrompt="1"/>
          </p:nvPr>
        </p:nvSpPr>
        <p:spPr>
          <a:xfrm>
            <a:off x="3031851" y="1956340"/>
            <a:ext cx="6128297" cy="720000"/>
          </a:xfrm>
        </p:spPr>
        <p:txBody>
          <a:bodyPr anchor="b"/>
          <a:lstStyle>
            <a:lvl1pPr algn="ctr">
              <a:defRPr sz="2800" b="1" cap="all" baseline="0">
                <a:solidFill>
                  <a:srgbClr val="FFFFFF"/>
                </a:solidFill>
                <a:latin typeface="Franklin Gothic Medium" panose="020B0603020102020204" pitchFamily="34" charset="0"/>
              </a:defRPr>
            </a:lvl1pPr>
          </a:lstStyle>
          <a:p>
            <a:pPr lvl="0"/>
            <a:r>
              <a:rPr lang="en-US" noProof="0"/>
              <a:t>Title</a:t>
            </a:r>
          </a:p>
        </p:txBody>
      </p:sp>
      <p:sp>
        <p:nvSpPr>
          <p:cNvPr id="34" name="Marcador de texto 33">
            <a:extLst>
              <a:ext uri="{FF2B5EF4-FFF2-40B4-BE49-F238E27FC236}">
                <a16:creationId xmlns:a16="http://schemas.microsoft.com/office/drawing/2014/main" id="{3A7B9A7A-18B8-4968-BA6B-C82CA0F5CDFD}"/>
              </a:ext>
            </a:extLst>
          </p:cNvPr>
          <p:cNvSpPr>
            <a:spLocks noGrp="1"/>
          </p:cNvSpPr>
          <p:nvPr>
            <p:ph type="body" sz="quarter" idx="19" hasCustomPrompt="1"/>
          </p:nvPr>
        </p:nvSpPr>
        <p:spPr>
          <a:xfrm>
            <a:off x="3031851" y="2714279"/>
            <a:ext cx="6128297" cy="720000"/>
          </a:xfrm>
        </p:spPr>
        <p:txBody>
          <a:bodyPr/>
          <a:lstStyle>
            <a:lvl1pPr algn="ctr">
              <a:defRPr sz="1800" baseline="0">
                <a:solidFill>
                  <a:schemeClr val="bg1">
                    <a:alpha val="75000"/>
                  </a:schemeClr>
                </a:solidFill>
              </a:defRPr>
            </a:lvl1pPr>
          </a:lstStyle>
          <a:p>
            <a:pPr lvl="0"/>
            <a:r>
              <a:rPr lang="en-US" noProof="0"/>
              <a:t>Lorem ipsum dolor sit </a:t>
            </a:r>
            <a:r>
              <a:rPr lang="en-US" noProof="0" err="1"/>
              <a:t>amet</a:t>
            </a:r>
            <a:endParaRPr lang="en-US" noProof="0"/>
          </a:p>
        </p:txBody>
      </p:sp>
      <p:cxnSp>
        <p:nvCxnSpPr>
          <p:cNvPr id="30" name="Conector recto 29">
            <a:extLst>
              <a:ext uri="{FF2B5EF4-FFF2-40B4-BE49-F238E27FC236}">
                <a16:creationId xmlns:a16="http://schemas.microsoft.com/office/drawing/2014/main" id="{54609F7D-AEC1-45B7-854E-FBF4BBA488C1}"/>
              </a:ext>
            </a:extLst>
          </p:cNvPr>
          <p:cNvCxnSpPr>
            <a:cxnSpLocks/>
          </p:cNvCxnSpPr>
          <p:nvPr userDrawn="1"/>
        </p:nvCxnSpPr>
        <p:spPr>
          <a:xfrm>
            <a:off x="3034126" y="3536387"/>
            <a:ext cx="0" cy="445894"/>
          </a:xfrm>
          <a:prstGeom prst="line">
            <a:avLst/>
          </a:prstGeom>
          <a:ln w="12700" cap="rnd">
            <a:solidFill>
              <a:srgbClr val="D3553F"/>
            </a:solidFill>
            <a:prstDash val="dash"/>
            <a:tailEnd type="diamond" w="lg" len="lg"/>
          </a:ln>
        </p:spPr>
        <p:style>
          <a:lnRef idx="1">
            <a:schemeClr val="accent1"/>
          </a:lnRef>
          <a:fillRef idx="0">
            <a:schemeClr val="accent1"/>
          </a:fillRef>
          <a:effectRef idx="0">
            <a:schemeClr val="accent1"/>
          </a:effectRef>
          <a:fontRef idx="minor">
            <a:schemeClr val="tx1"/>
          </a:fontRef>
        </p:style>
      </p:cxnSp>
      <p:sp>
        <p:nvSpPr>
          <p:cNvPr id="4" name="Marcador de texto 3">
            <a:extLst>
              <a:ext uri="{FF2B5EF4-FFF2-40B4-BE49-F238E27FC236}">
                <a16:creationId xmlns:a16="http://schemas.microsoft.com/office/drawing/2014/main" id="{0867734D-077E-4843-BFC9-1D1FFC025995}"/>
              </a:ext>
            </a:extLst>
          </p:cNvPr>
          <p:cNvSpPr>
            <a:spLocks noGrp="1"/>
          </p:cNvSpPr>
          <p:nvPr>
            <p:ph type="body" sz="quarter" idx="20"/>
          </p:nvPr>
        </p:nvSpPr>
        <p:spPr>
          <a:xfrm>
            <a:off x="3202440" y="3875487"/>
            <a:ext cx="5957706" cy="1600438"/>
          </a:xfrm>
        </p:spPr>
        <p:txBody>
          <a:bodyPr/>
          <a:lstStyle>
            <a:lvl1pPr>
              <a:defRPr sz="1400" b="1">
                <a:solidFill>
                  <a:srgbClr val="D3553F"/>
                </a:solidFill>
              </a:defRPr>
            </a:lvl1pPr>
          </a:lstStyle>
          <a:p>
            <a:pPr lvl="0"/>
            <a:r>
              <a:rPr lang="es-ES"/>
              <a:t>Haga clic para modificar los estilos de texto del patrón</a:t>
            </a:r>
          </a:p>
        </p:txBody>
      </p:sp>
    </p:spTree>
    <p:extLst>
      <p:ext uri="{BB962C8B-B14F-4D97-AF65-F5344CB8AC3E}">
        <p14:creationId xmlns:p14="http://schemas.microsoft.com/office/powerpoint/2010/main" val="23564607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4"/>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name="think-cell Slide" r:id="rId16" imgW="360" imgH="360" progId="TCLayout.ActiveDocument.1">
                  <p:embed/>
                </p:oleObj>
              </mc:Choice>
              <mc:Fallback>
                <p:oleObj name="think-cell Slide" r:id="rId16" imgW="360" imgH="360" progId="TCLayout.ActiveDocument.1">
                  <p:embed/>
                  <p:pic>
                    <p:nvPicPr>
                      <p:cNvPr id="9" name="Object 8"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6" y="1591"/>
                        <a:ext cx="1953"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EBDE826D-6E69-4E2C-9278-C90B59C88619}"/>
              </a:ext>
            </a:extLst>
          </p:cNvPr>
          <p:cNvSpPr/>
          <p:nvPr userDrawn="1">
            <p:custDataLst>
              <p:tags r:id="rId15"/>
            </p:custDataLst>
          </p:nvPr>
        </p:nvSpPr>
        <p:spPr>
          <a:xfrm>
            <a:off x="0" y="0"/>
            <a:ext cx="158750" cy="158750"/>
          </a:xfrm>
          <a:prstGeom prst="rect">
            <a:avLst/>
          </a:prstGeom>
          <a:solidFill>
            <a:srgbClr val="5A2259"/>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1" i="0" baseline="0" err="1">
              <a:solidFill>
                <a:srgbClr val="000000"/>
              </a:solidFill>
              <a:latin typeface="Franklin Gothic Medium" panose="020B0603020102020204" pitchFamily="34" charset="0"/>
              <a:ea typeface="+mj-ea"/>
              <a:cs typeface="Arial" pitchFamily="34" charset="0"/>
              <a:sym typeface="Franklin Gothic Medium" panose="020B0603020102020204" pitchFamily="34" charset="0"/>
            </a:endParaRPr>
          </a:p>
        </p:txBody>
      </p:sp>
      <p:sp>
        <p:nvSpPr>
          <p:cNvPr id="1026" name="Title Placeholder 1"/>
          <p:cNvSpPr>
            <a:spLocks noGrp="1"/>
          </p:cNvSpPr>
          <p:nvPr>
            <p:ph type="title"/>
          </p:nvPr>
        </p:nvSpPr>
        <p:spPr bwMode="auto">
          <a:xfrm>
            <a:off x="644336" y="480075"/>
            <a:ext cx="9360000" cy="308122"/>
          </a:xfrm>
          <a:prstGeom prst="rect">
            <a:avLst/>
          </a:prstGeom>
          <a:noFill/>
          <a:ln w="9525">
            <a:noFill/>
            <a:miter lim="800000"/>
            <a:headEnd/>
            <a:tailEnd/>
          </a:ln>
        </p:spPr>
        <p:txBody>
          <a:bodyPr vert="horz" wrap="square" lIns="0" tIns="45720" rIns="0" bIns="45720" numCol="1" anchor="ctr" anchorCtr="0" compatLnSpc="1">
            <a:prstTxWarp prst="textNoShape">
              <a:avLst/>
            </a:prstTxWarp>
            <a:noAutofit/>
          </a:bodyPr>
          <a:lstStyle/>
          <a:p>
            <a:pPr lvl="0"/>
            <a:r>
              <a:rPr lang="en-US"/>
              <a:t>Click to edit Master title style</a:t>
            </a:r>
          </a:p>
        </p:txBody>
      </p:sp>
      <p:sp>
        <p:nvSpPr>
          <p:cNvPr id="1027" name="Text Placeholder 2"/>
          <p:cNvSpPr>
            <a:spLocks noGrp="1"/>
          </p:cNvSpPr>
          <p:nvPr>
            <p:ph type="body" idx="1"/>
          </p:nvPr>
        </p:nvSpPr>
        <p:spPr bwMode="auto">
          <a:xfrm>
            <a:off x="562709" y="1508125"/>
            <a:ext cx="11068539"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5"/>
          <p:cNvSpPr txBox="1">
            <a:spLocks/>
          </p:cNvSpPr>
          <p:nvPr userDrawn="1"/>
        </p:nvSpPr>
        <p:spPr>
          <a:xfrm>
            <a:off x="11396786" y="6483356"/>
            <a:ext cx="234463"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defRPr/>
            </a:pPr>
            <a:fld id="{314D992F-7007-473D-9CAC-8B17A67E3C5E}" type="slidenum">
              <a:rPr lang="en-US" sz="900" smtClean="0">
                <a:solidFill>
                  <a:srgbClr val="5A2259"/>
                </a:solidFill>
              </a:rPr>
              <a:pPr>
                <a:defRPr/>
              </a:pPr>
              <a:t>‹#›</a:t>
            </a:fld>
            <a:endParaRPr lang="en-US" sz="900">
              <a:solidFill>
                <a:srgbClr val="5A2259"/>
              </a:solidFill>
            </a:endParaRPr>
          </a:p>
        </p:txBody>
      </p:sp>
      <p:sp>
        <p:nvSpPr>
          <p:cNvPr id="22" name="Rectángulo 21">
            <a:extLst>
              <a:ext uri="{FF2B5EF4-FFF2-40B4-BE49-F238E27FC236}">
                <a16:creationId xmlns:a16="http://schemas.microsoft.com/office/drawing/2014/main" id="{08D76A75-1154-4ECC-8C0B-DCF50CEE654F}"/>
              </a:ext>
            </a:extLst>
          </p:cNvPr>
          <p:cNvSpPr/>
          <p:nvPr userDrawn="1"/>
        </p:nvSpPr>
        <p:spPr>
          <a:xfrm>
            <a:off x="0" y="497001"/>
            <a:ext cx="243730" cy="540000"/>
          </a:xfrm>
          <a:prstGeom prst="rect">
            <a:avLst/>
          </a:prstGeom>
          <a:gradFill flip="none" rotWithShape="1">
            <a:gsLst>
              <a:gs pos="0">
                <a:schemeClr val="tx2"/>
              </a:gs>
              <a:gs pos="100000">
                <a:schemeClr val="accent6"/>
              </a:gs>
            </a:gsLst>
            <a:lin ang="5400000" scaled="1"/>
            <a:tileRect/>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sp>
        <p:nvSpPr>
          <p:cNvPr id="23" name="Rectángulo 22">
            <a:extLst>
              <a:ext uri="{FF2B5EF4-FFF2-40B4-BE49-F238E27FC236}">
                <a16:creationId xmlns:a16="http://schemas.microsoft.com/office/drawing/2014/main" id="{1FE64F5C-7B9C-4791-970E-61569465B98C}"/>
              </a:ext>
            </a:extLst>
          </p:cNvPr>
          <p:cNvSpPr/>
          <p:nvPr userDrawn="1"/>
        </p:nvSpPr>
        <p:spPr>
          <a:xfrm>
            <a:off x="0" y="6768000"/>
            <a:ext cx="12192000" cy="90000"/>
          </a:xfrm>
          <a:prstGeom prst="rect">
            <a:avLst/>
          </a:prstGeom>
          <a:gradFill>
            <a:gsLst>
              <a:gs pos="0">
                <a:schemeClr val="tx2"/>
              </a:gs>
              <a:gs pos="100000">
                <a:schemeClr val="accent6"/>
              </a:gs>
            </a:gsLst>
            <a:lin ang="0" scaled="0"/>
          </a:gra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000000"/>
              </a:solidFill>
              <a:effectLst/>
              <a:uLnTx/>
              <a:uFillTx/>
              <a:latin typeface="Arial" pitchFamily="34" charset="0"/>
              <a:ea typeface="+mn-ea"/>
              <a:cs typeface="Arial" pitchFamily="34" charset="0"/>
            </a:endParaRPr>
          </a:p>
        </p:txBody>
      </p:sp>
      <p:pic>
        <p:nvPicPr>
          <p:cNvPr id="24" name="Picture 2">
            <a:extLst>
              <a:ext uri="{FF2B5EF4-FFF2-40B4-BE49-F238E27FC236}">
                <a16:creationId xmlns:a16="http://schemas.microsoft.com/office/drawing/2014/main" id="{8C9F09AB-38FF-4F16-BDAD-DC3FB40BBDB0}"/>
              </a:ext>
            </a:extLst>
          </p:cNvPr>
          <p:cNvPicPr>
            <a:picLocks noChangeAspect="1"/>
          </p:cNvPicPr>
          <p:nvPr userDrawn="1"/>
        </p:nvPicPr>
        <p:blipFill>
          <a:blip r:embed="rId18"/>
          <a:srcRect/>
          <a:stretch/>
        </p:blipFill>
        <p:spPr>
          <a:xfrm>
            <a:off x="10234863" y="-19547"/>
            <a:ext cx="1796716" cy="898358"/>
          </a:xfrm>
          <a:prstGeom prst="rect">
            <a:avLst/>
          </a:prstGeom>
        </p:spPr>
      </p:pic>
    </p:spTree>
    <p:extLst>
      <p:ext uri="{BB962C8B-B14F-4D97-AF65-F5344CB8AC3E}">
        <p14:creationId xmlns:p14="http://schemas.microsoft.com/office/powerpoint/2010/main" val="4086190156"/>
      </p:ext>
    </p:extLst>
  </p:cSld>
  <p:clrMap bg1="lt1" tx1="dk1" bg2="lt2" tx2="dk2" accent1="accent1" accent2="accent2" accent3="accent3" accent4="accent4" accent5="accent5" accent6="accent6" hlink="hlink" folHlink="folHlink"/>
  <p:sldLayoutIdLst>
    <p:sldLayoutId id="2147485488" r:id="rId1"/>
    <p:sldLayoutId id="2147485489" r:id="rId2"/>
    <p:sldLayoutId id="2147485476" r:id="rId3"/>
    <p:sldLayoutId id="2147485495" r:id="rId4"/>
    <p:sldLayoutId id="2147485490" r:id="rId5"/>
    <p:sldLayoutId id="2147485491" r:id="rId6"/>
    <p:sldLayoutId id="2147485494" r:id="rId7"/>
    <p:sldLayoutId id="2147485492" r:id="rId8"/>
    <p:sldLayoutId id="2147485493" r:id="rId9"/>
    <p:sldLayoutId id="2147485496" r:id="rId10"/>
    <p:sldLayoutId id="2147485499" r:id="rId11"/>
    <p:sldLayoutId id="2147485504" r:id="rId12"/>
  </p:sldLayoutIdLst>
  <p:hf hdr="0" ftr="0" dt="0"/>
  <p:txStyles>
    <p:titleStyle>
      <a:lvl1pPr algn="l" rtl="0" eaLnBrk="1" fontAlgn="base" hangingPunct="1">
        <a:spcBef>
          <a:spcPct val="0"/>
        </a:spcBef>
        <a:spcAft>
          <a:spcPct val="0"/>
        </a:spcAft>
        <a:defRPr sz="1600" b="0" kern="1200" cap="all" spc="300" baseline="0">
          <a:solidFill>
            <a:srgbClr val="8C9EAB"/>
          </a:solidFill>
          <a:latin typeface="Franklin Gothic Medium"/>
          <a:ea typeface="+mj-ea"/>
          <a:cs typeface="Franklin Gothic Medium"/>
        </a:defRPr>
      </a:lvl1pPr>
      <a:lvl2pPr algn="l" rtl="0" eaLnBrk="1" fontAlgn="base" hangingPunct="1">
        <a:spcBef>
          <a:spcPct val="0"/>
        </a:spcBef>
        <a:spcAft>
          <a:spcPct val="0"/>
        </a:spcAft>
        <a:defRPr sz="2400" b="1">
          <a:solidFill>
            <a:schemeClr val="tx2"/>
          </a:solidFill>
          <a:latin typeface="Arial" charset="0"/>
        </a:defRPr>
      </a:lvl2pPr>
      <a:lvl3pPr algn="l" rtl="0" eaLnBrk="1" fontAlgn="base" hangingPunct="1">
        <a:spcBef>
          <a:spcPct val="0"/>
        </a:spcBef>
        <a:spcAft>
          <a:spcPct val="0"/>
        </a:spcAft>
        <a:defRPr sz="2400" b="1">
          <a:solidFill>
            <a:schemeClr val="tx2"/>
          </a:solidFill>
          <a:latin typeface="Arial" charset="0"/>
        </a:defRPr>
      </a:lvl3pPr>
      <a:lvl4pPr algn="l" rtl="0" eaLnBrk="1" fontAlgn="base" hangingPunct="1">
        <a:spcBef>
          <a:spcPct val="0"/>
        </a:spcBef>
        <a:spcAft>
          <a:spcPct val="0"/>
        </a:spcAft>
        <a:defRPr sz="2400" b="1">
          <a:solidFill>
            <a:schemeClr val="tx2"/>
          </a:solidFill>
          <a:latin typeface="Arial" charset="0"/>
        </a:defRPr>
      </a:lvl4pPr>
      <a:lvl5pPr algn="l" rtl="0" eaLnBrk="1" fontAlgn="base" hangingPunct="1">
        <a:spcBef>
          <a:spcPct val="0"/>
        </a:spcBef>
        <a:spcAft>
          <a:spcPct val="0"/>
        </a:spcAft>
        <a:defRPr sz="2400" b="1">
          <a:solidFill>
            <a:schemeClr val="tx2"/>
          </a:solidFill>
          <a:latin typeface="Arial" charset="0"/>
        </a:defRPr>
      </a:lvl5pPr>
      <a:lvl6pPr marL="457200" algn="l" rtl="0" eaLnBrk="1" fontAlgn="base" hangingPunct="1">
        <a:spcBef>
          <a:spcPct val="0"/>
        </a:spcBef>
        <a:spcAft>
          <a:spcPct val="0"/>
        </a:spcAft>
        <a:defRPr sz="2400" b="1">
          <a:solidFill>
            <a:schemeClr val="tx2"/>
          </a:solidFill>
          <a:latin typeface="Arial" charset="0"/>
        </a:defRPr>
      </a:lvl6pPr>
      <a:lvl7pPr marL="914400" algn="l" rtl="0" eaLnBrk="1" fontAlgn="base" hangingPunct="1">
        <a:spcBef>
          <a:spcPct val="0"/>
        </a:spcBef>
        <a:spcAft>
          <a:spcPct val="0"/>
        </a:spcAft>
        <a:defRPr sz="2400" b="1">
          <a:solidFill>
            <a:schemeClr val="tx2"/>
          </a:solidFill>
          <a:latin typeface="Arial" charset="0"/>
        </a:defRPr>
      </a:lvl7pPr>
      <a:lvl8pPr marL="1371600" algn="l" rtl="0" eaLnBrk="1" fontAlgn="base" hangingPunct="1">
        <a:spcBef>
          <a:spcPct val="0"/>
        </a:spcBef>
        <a:spcAft>
          <a:spcPct val="0"/>
        </a:spcAft>
        <a:defRPr sz="2400" b="1">
          <a:solidFill>
            <a:schemeClr val="tx2"/>
          </a:solidFill>
          <a:latin typeface="Arial" charset="0"/>
        </a:defRPr>
      </a:lvl8pPr>
      <a:lvl9pPr marL="1828800" algn="l" rtl="0" eaLnBrk="1" fontAlgn="base" hangingPunct="1">
        <a:spcBef>
          <a:spcPct val="0"/>
        </a:spcBef>
        <a:spcAft>
          <a:spcPct val="0"/>
        </a:spcAft>
        <a:defRPr sz="2400" b="1">
          <a:solidFill>
            <a:schemeClr val="tx2"/>
          </a:solidFill>
          <a:latin typeface="Arial" charset="0"/>
        </a:defRPr>
      </a:lvl9pPr>
    </p:titleStyle>
    <p:bodyStyle>
      <a:lvl1pPr marL="0" indent="0" algn="l" rtl="0" eaLnBrk="1" fontAlgn="base" hangingPunct="1">
        <a:spcBef>
          <a:spcPct val="20000"/>
        </a:spcBef>
        <a:spcAft>
          <a:spcPct val="0"/>
        </a:spcAft>
        <a:buClr>
          <a:schemeClr val="tx2"/>
        </a:buClr>
        <a:defRPr sz="1200" b="0" kern="1200" spc="100" baseline="0">
          <a:solidFill>
            <a:srgbClr val="4C5B68"/>
          </a:solidFill>
          <a:latin typeface="+mn-lt"/>
          <a:ea typeface="+mn-ea"/>
          <a:cs typeface="+mn-cs"/>
        </a:defRPr>
      </a:lvl1pPr>
      <a:lvl2pPr marL="274638" indent="-274638" algn="l" rtl="0" eaLnBrk="1" fontAlgn="base" hangingPunct="1">
        <a:spcBef>
          <a:spcPct val="20000"/>
        </a:spcBef>
        <a:spcAft>
          <a:spcPct val="0"/>
        </a:spcAft>
        <a:buClr>
          <a:srgbClr val="5A2259"/>
        </a:buClr>
        <a:buFont typeface="Wingdings" panose="05000000000000000000" pitchFamily="2" charset="2"/>
        <a:buChar char="§"/>
        <a:tabLst/>
        <a:defRPr sz="1600" kern="1200">
          <a:solidFill>
            <a:srgbClr val="5A2259"/>
          </a:solidFill>
          <a:latin typeface="Franklin Gothic Medium" panose="020B0603020102020204" pitchFamily="34" charset="0"/>
          <a:ea typeface="+mn-ea"/>
          <a:cs typeface="+mn-cs"/>
        </a:defRPr>
      </a:lvl2pPr>
      <a:lvl3pPr marL="274638" indent="-274638" algn="l" rtl="0" eaLnBrk="1" fontAlgn="base" hangingPunct="1">
        <a:spcBef>
          <a:spcPct val="20000"/>
        </a:spcBef>
        <a:spcAft>
          <a:spcPct val="0"/>
        </a:spcAft>
        <a:buClr>
          <a:schemeClr val="tx2"/>
        </a:buClr>
        <a:buFont typeface="Wingdings" panose="05000000000000000000" pitchFamily="2" charset="2"/>
        <a:buChar char="§"/>
        <a:tabLst/>
        <a:defRPr sz="1600" kern="1200">
          <a:solidFill>
            <a:srgbClr val="43ABB6"/>
          </a:solidFill>
          <a:latin typeface="Franklin Gothic Medium" panose="020B0603020102020204" pitchFamily="34" charset="0"/>
          <a:ea typeface="+mn-ea"/>
          <a:cs typeface="+mn-cs"/>
        </a:defRPr>
      </a:lvl3pPr>
      <a:lvl4pPr marL="274638" indent="-265113" algn="l" rtl="0" eaLnBrk="1" fontAlgn="base" hangingPunct="1">
        <a:spcBef>
          <a:spcPct val="20000"/>
        </a:spcBef>
        <a:spcAft>
          <a:spcPct val="0"/>
        </a:spcAft>
        <a:buClr>
          <a:srgbClr val="E93F47"/>
        </a:buClr>
        <a:buFont typeface="Wingdings" panose="05000000000000000000" pitchFamily="2" charset="2"/>
        <a:buChar char="§"/>
        <a:tabLst/>
        <a:defRPr sz="1600" kern="1200">
          <a:solidFill>
            <a:srgbClr val="D3553F"/>
          </a:solidFill>
          <a:latin typeface="Franklin Gothic Medium" panose="020B0603020102020204" pitchFamily="34" charset="0"/>
          <a:ea typeface="+mn-ea"/>
          <a:cs typeface="+mn-cs"/>
        </a:defRPr>
      </a:lvl4pPr>
      <a:lvl5pPr marL="274638" indent="-265113" algn="l" rtl="0" eaLnBrk="1" fontAlgn="base" hangingPunct="1">
        <a:spcBef>
          <a:spcPct val="20000"/>
        </a:spcBef>
        <a:spcAft>
          <a:spcPct val="0"/>
        </a:spcAft>
        <a:buClr>
          <a:srgbClr val="8C9EAB"/>
        </a:buClr>
        <a:buFont typeface="Wingdings" panose="05000000000000000000" pitchFamily="2" charset="2"/>
        <a:buChar char="§"/>
        <a:tabLst/>
        <a:defRPr sz="1600" kern="1200">
          <a:solidFill>
            <a:srgbClr val="8C9EAB"/>
          </a:solidFill>
          <a:latin typeface="Franklin Gothic Medium" panose="020B06030201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2761455"/>
      </p:ext>
    </p:extLst>
  </p:cSld>
  <p:clrMap bg1="lt1" tx1="dk1" bg2="lt2" tx2="dk2" accent1="accent1" accent2="accent2" accent3="accent3" accent4="accent4" accent5="accent5" accent6="accent6" hlink="hlink" folHlink="folHlink"/>
  <p:sldLayoutIdLst>
    <p:sldLayoutId id="2147485502" r:id="rId1"/>
    <p:sldLayoutId id="2147485503"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0.xml"/><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10.png"/><Relationship Id="rId7" Type="http://schemas.openxmlformats.org/officeDocument/2006/relationships/image" Target="../media/image12.png"/><Relationship Id="rId12" Type="http://schemas.openxmlformats.org/officeDocument/2006/relationships/image" Target="../media/image16.svg"/><Relationship Id="rId2" Type="http://schemas.openxmlformats.org/officeDocument/2006/relationships/notesSlide" Target="../notesSlides/notesSlide3.xml"/><Relationship Id="rId1" Type="http://schemas.openxmlformats.org/officeDocument/2006/relationships/slideLayout" Target="../slideLayouts/slideLayout11.xml"/><Relationship Id="rId6" Type="http://schemas.openxmlformats.org/officeDocument/2006/relationships/hyperlink" Target="https://thenounproject.com/term/group/253254" TargetMode="External"/><Relationship Id="rId11" Type="http://schemas.openxmlformats.org/officeDocument/2006/relationships/image" Target="../media/image15.png"/><Relationship Id="rId5" Type="http://schemas.openxmlformats.org/officeDocument/2006/relationships/image" Target="../media/image11.png"/><Relationship Id="rId10" Type="http://schemas.openxmlformats.org/officeDocument/2006/relationships/image" Target="../media/image14.png"/><Relationship Id="rId4" Type="http://schemas.openxmlformats.org/officeDocument/2006/relationships/hyperlink" Target="https://thenounproject.com/term/cycle/4195" TargetMode="External"/><Relationship Id="rId9" Type="http://schemas.openxmlformats.org/officeDocument/2006/relationships/hyperlink" Target="https://thenounproject.com/term/shield/384802" TargetMode="External"/></Relationships>
</file>

<file path=ppt/slides/_rels/slide6.xml.rels><?xml version="1.0" encoding="UTF-8" standalone="yes"?>
<Relationships xmlns="http://schemas.openxmlformats.org/package/2006/relationships"><Relationship Id="rId8" Type="http://schemas.openxmlformats.org/officeDocument/2006/relationships/hyperlink" Target="https://thenounproject.com/term/shield/384802" TargetMode="External"/><Relationship Id="rId13" Type="http://schemas.openxmlformats.org/officeDocument/2006/relationships/image" Target="../media/image16.svg"/><Relationship Id="rId3" Type="http://schemas.openxmlformats.org/officeDocument/2006/relationships/image" Target="../media/image10.png"/><Relationship Id="rId7" Type="http://schemas.openxmlformats.org/officeDocument/2006/relationships/image" Target="../media/image17.png"/><Relationship Id="rId12"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1.xml"/><Relationship Id="rId6" Type="http://schemas.openxmlformats.org/officeDocument/2006/relationships/hyperlink" Target="https://thenounproject.com/term/group/253254" TargetMode="External"/><Relationship Id="rId11" Type="http://schemas.openxmlformats.org/officeDocument/2006/relationships/image" Target="../media/image18.png"/><Relationship Id="rId5" Type="http://schemas.openxmlformats.org/officeDocument/2006/relationships/image" Target="../media/image11.png"/><Relationship Id="rId10" Type="http://schemas.openxmlformats.org/officeDocument/2006/relationships/hyperlink" Target="https://thenounproject.com/term/checklist/534532" TargetMode="External"/><Relationship Id="rId4" Type="http://schemas.openxmlformats.org/officeDocument/2006/relationships/hyperlink" Target="https://thenounproject.com/term/cycle/4195" TargetMode="External"/><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20.svg"/><Relationship Id="rId13" Type="http://schemas.openxmlformats.org/officeDocument/2006/relationships/image" Target="../media/image21.png"/><Relationship Id="rId3" Type="http://schemas.openxmlformats.org/officeDocument/2006/relationships/image" Target="../media/image10.png"/><Relationship Id="rId7" Type="http://schemas.openxmlformats.org/officeDocument/2006/relationships/image" Target="../media/image19.png"/><Relationship Id="rId12"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11.xml"/><Relationship Id="rId6" Type="http://schemas.openxmlformats.org/officeDocument/2006/relationships/hyperlink" Target="https://thenounproject.com/term/group/253254" TargetMode="External"/><Relationship Id="rId11" Type="http://schemas.openxmlformats.org/officeDocument/2006/relationships/hyperlink" Target="https://thenounproject.com/term/checklist/534532" TargetMode="External"/><Relationship Id="rId5" Type="http://schemas.openxmlformats.org/officeDocument/2006/relationships/image" Target="../media/image11.png"/><Relationship Id="rId10" Type="http://schemas.openxmlformats.org/officeDocument/2006/relationships/image" Target="../media/image14.png"/><Relationship Id="rId4" Type="http://schemas.openxmlformats.org/officeDocument/2006/relationships/hyperlink" Target="https://thenounproject.com/term/cycle/4195" TargetMode="External"/><Relationship Id="rId9" Type="http://schemas.openxmlformats.org/officeDocument/2006/relationships/hyperlink" Target="https://thenounproject.com/term/shield/384802" TargetMode="External"/><Relationship Id="rId14" Type="http://schemas.openxmlformats.org/officeDocument/2006/relationships/image" Target="../media/image22.sv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image" Target="../media/image25.png"/><Relationship Id="rId3" Type="http://schemas.openxmlformats.org/officeDocument/2006/relationships/hyperlink" Target="https://thenounproject.com/term/cycle/4195" TargetMode="External"/><Relationship Id="rId7" Type="http://schemas.openxmlformats.org/officeDocument/2006/relationships/image" Target="../media/image14.png"/><Relationship Id="rId12" Type="http://schemas.openxmlformats.org/officeDocument/2006/relationships/image" Target="../media/image20.svg"/><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hyperlink" Target="https://thenounproject.com/term/shield/384802" TargetMode="External"/><Relationship Id="rId11" Type="http://schemas.openxmlformats.org/officeDocument/2006/relationships/image" Target="../media/image19.png"/><Relationship Id="rId5" Type="http://schemas.openxmlformats.org/officeDocument/2006/relationships/image" Target="../media/image24.svg"/><Relationship Id="rId10" Type="http://schemas.openxmlformats.org/officeDocument/2006/relationships/hyperlink" Target="https://thenounproject.com/term/group/253254" TargetMode="External"/><Relationship Id="rId4" Type="http://schemas.openxmlformats.org/officeDocument/2006/relationships/image" Target="../media/image23.png"/><Relationship Id="rId9" Type="http://schemas.openxmlformats.org/officeDocument/2006/relationships/image" Target="../media/image16.svg"/><Relationship Id="rId14" Type="http://schemas.openxmlformats.org/officeDocument/2006/relationships/image" Target="../media/image26.svg"/></Relationships>
</file>

<file path=ppt/slides/_rels/slide9.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A9CB7FB5-766A-4045-886C-DA1A654568D9}"/>
              </a:ext>
            </a:extLst>
          </p:cNvPr>
          <p:cNvSpPr>
            <a:spLocks noGrp="1"/>
          </p:cNvSpPr>
          <p:nvPr>
            <p:ph type="body" sz="quarter" idx="12"/>
          </p:nvPr>
        </p:nvSpPr>
        <p:spPr/>
        <p:txBody>
          <a:bodyPr/>
          <a:lstStyle/>
          <a:p>
            <a:r>
              <a:rPr lang="en-GB" b="1" dirty="0">
                <a:solidFill>
                  <a:schemeClr val="accent5">
                    <a:lumMod val="75000"/>
                  </a:schemeClr>
                </a:solidFill>
              </a:rPr>
              <a:t>Ha </a:t>
            </a:r>
            <a:r>
              <a:rPr lang="en-GB" b="1" dirty="0" err="1">
                <a:solidFill>
                  <a:schemeClr val="accent5">
                    <a:lumMod val="75000"/>
                  </a:schemeClr>
                </a:solidFill>
              </a:rPr>
              <a:t>Nội</a:t>
            </a:r>
            <a:r>
              <a:rPr lang="en-GB" b="1" dirty="0">
                <a:solidFill>
                  <a:schemeClr val="accent5">
                    <a:lumMod val="75000"/>
                  </a:schemeClr>
                </a:solidFill>
              </a:rPr>
              <a:t>, 3/8/2023</a:t>
            </a:r>
          </a:p>
        </p:txBody>
      </p:sp>
      <p:pic>
        <p:nvPicPr>
          <p:cNvPr id="11" name="Picture Placeholder 10" descr="A picture containing floor, person, people&#10;&#10;Description automatically generated">
            <a:extLst>
              <a:ext uri="{FF2B5EF4-FFF2-40B4-BE49-F238E27FC236}">
                <a16:creationId xmlns:a16="http://schemas.microsoft.com/office/drawing/2014/main" id="{BA7700B2-0F41-83A1-5C33-A948C6E5C9DF}"/>
              </a:ext>
            </a:extLst>
          </p:cNvPr>
          <p:cNvPicPr>
            <a:picLocks noGrp="1" noChangeAspect="1"/>
          </p:cNvPicPr>
          <p:nvPr>
            <p:ph type="pic" sz="quarter" idx="10"/>
          </p:nvPr>
        </p:nvPicPr>
        <p:blipFill>
          <a:blip r:embed="rId3">
            <a:extLst>
              <a:ext uri="{28A0092B-C50C-407E-A947-70E740481C1C}">
                <a14:useLocalDpi xmlns:a14="http://schemas.microsoft.com/office/drawing/2010/main" val="0"/>
              </a:ext>
            </a:extLst>
          </a:blip>
          <a:srcRect l="11716" r="11716"/>
          <a:stretch>
            <a:fillRect/>
          </a:stretch>
        </p:blipFill>
        <p:spPr>
          <a:xfrm>
            <a:off x="4800763" y="54430"/>
            <a:ext cx="7391241" cy="6662013"/>
          </a:xfrm>
        </p:spPr>
      </p:pic>
      <p:sp>
        <p:nvSpPr>
          <p:cNvPr id="5" name="Title 3">
            <a:extLst>
              <a:ext uri="{FF2B5EF4-FFF2-40B4-BE49-F238E27FC236}">
                <a16:creationId xmlns:a16="http://schemas.microsoft.com/office/drawing/2014/main" id="{D8377545-FEF5-EA04-C1AB-E1BF33D6457A}"/>
              </a:ext>
            </a:extLst>
          </p:cNvPr>
          <p:cNvSpPr>
            <a:spLocks noGrp="1"/>
          </p:cNvSpPr>
          <p:nvPr>
            <p:ph type="title"/>
          </p:nvPr>
        </p:nvSpPr>
        <p:spPr>
          <a:xfrm>
            <a:off x="794328" y="4135991"/>
            <a:ext cx="4868447" cy="831850"/>
          </a:xfrm>
        </p:spPr>
        <p:txBody>
          <a:bodyPr>
            <a:noAutofit/>
          </a:bodyPr>
          <a:lstStyle/>
          <a:p>
            <a:pPr marL="11431" marR="4572" defTabSz="823000">
              <a:spcBef>
                <a:spcPts val="45"/>
              </a:spcBef>
            </a:pPr>
            <a:r>
              <a:rPr lang="vi-VN" sz="1800" b="1" kern="0" dirty="0">
                <a:latin typeface="HelveticaNeueLT Pro 57 Cn"/>
              </a:rPr>
              <a:t>HOẠT ĐỘNG hỗ trợ tăng cường hệ thống y tế tại </a:t>
            </a:r>
            <a:br>
              <a:rPr lang="vi-VN" sz="1800" b="1" kern="0" dirty="0">
                <a:latin typeface="HelveticaNeueLT Pro 57 Cn"/>
              </a:rPr>
            </a:br>
            <a:r>
              <a:rPr lang="vi-VN" sz="1800" b="1" kern="0" dirty="0">
                <a:latin typeface="HelveticaNeueLT Pro 57 Cn"/>
              </a:rPr>
              <a:t>Việt Nam CỦA FIND</a:t>
            </a:r>
            <a:endParaRPr lang="en-US" sz="1800" dirty="0"/>
          </a:p>
        </p:txBody>
      </p:sp>
      <p:sp>
        <p:nvSpPr>
          <p:cNvPr id="14" name="Text Placeholder 4">
            <a:extLst>
              <a:ext uri="{FF2B5EF4-FFF2-40B4-BE49-F238E27FC236}">
                <a16:creationId xmlns:a16="http://schemas.microsoft.com/office/drawing/2014/main" id="{BBCF5641-176E-01CC-2718-E710FA783543}"/>
              </a:ext>
            </a:extLst>
          </p:cNvPr>
          <p:cNvSpPr>
            <a:spLocks noGrp="1"/>
          </p:cNvSpPr>
          <p:nvPr>
            <p:ph type="body" sz="quarter" idx="11"/>
          </p:nvPr>
        </p:nvSpPr>
        <p:spPr>
          <a:xfrm>
            <a:off x="794328" y="5149830"/>
            <a:ext cx="3411625" cy="449450"/>
          </a:xfrm>
        </p:spPr>
        <p:txBody>
          <a:bodyPr>
            <a:normAutofit fontScale="77500" lnSpcReduction="20000"/>
          </a:bodyPr>
          <a:lstStyle/>
          <a:p>
            <a:r>
              <a:rPr lang="vi-VN" b="1" kern="0" dirty="0">
                <a:latin typeface="HelveticaNeueLT Pro 57 Cn"/>
              </a:rPr>
              <a:t>TS. Nguyễn Thi Vân Anh</a:t>
            </a:r>
          </a:p>
          <a:p>
            <a:r>
              <a:rPr lang="vi-VN" b="1" kern="0" dirty="0">
                <a:latin typeface="HelveticaNeueLT Pro 57 Cn"/>
              </a:rPr>
              <a:t>Trưởng VP FIND Viet Nam </a:t>
            </a:r>
            <a:endParaRPr lang="en-US" dirty="0"/>
          </a:p>
        </p:txBody>
      </p:sp>
    </p:spTree>
    <p:extLst>
      <p:ext uri="{BB962C8B-B14F-4D97-AF65-F5344CB8AC3E}">
        <p14:creationId xmlns:p14="http://schemas.microsoft.com/office/powerpoint/2010/main" val="4136798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áfico 400">
            <a:extLst>
              <a:ext uri="{FF2B5EF4-FFF2-40B4-BE49-F238E27FC236}">
                <a16:creationId xmlns:a16="http://schemas.microsoft.com/office/drawing/2014/main" id="{82D8992B-1542-0B4D-ADC7-41CDE031B032}"/>
              </a:ext>
            </a:extLst>
          </p:cNvPr>
          <p:cNvGrpSpPr/>
          <p:nvPr/>
        </p:nvGrpSpPr>
        <p:grpSpPr>
          <a:xfrm>
            <a:off x="2878040" y="990637"/>
            <a:ext cx="1069646" cy="1069646"/>
            <a:chOff x="3657601" y="990590"/>
            <a:chExt cx="4876803" cy="4876798"/>
          </a:xfrm>
          <a:solidFill>
            <a:srgbClr val="43ABB6">
              <a:alpha val="40000"/>
            </a:srgbClr>
          </a:solidFill>
        </p:grpSpPr>
        <p:sp>
          <p:nvSpPr>
            <p:cNvPr id="18" name="Forma libre 17">
              <a:extLst>
                <a:ext uri="{FF2B5EF4-FFF2-40B4-BE49-F238E27FC236}">
                  <a16:creationId xmlns:a16="http://schemas.microsoft.com/office/drawing/2014/main" id="{506F351B-3EA0-5A48-836F-96A517FA3C4A}"/>
                </a:ext>
              </a:extLst>
            </p:cNvPr>
            <p:cNvSpPr/>
            <p:nvPr/>
          </p:nvSpPr>
          <p:spPr>
            <a:xfrm>
              <a:off x="3983448" y="990590"/>
              <a:ext cx="4550956" cy="4128989"/>
            </a:xfrm>
            <a:custGeom>
              <a:avLst/>
              <a:gdLst>
                <a:gd name="connsiteX0" fmla="*/ 4534721 w 4550955"/>
                <a:gd name="connsiteY0" fmla="*/ 3124324 h 4128992"/>
                <a:gd name="connsiteX1" fmla="*/ 3562923 w 4550955"/>
                <a:gd name="connsiteY1" fmla="*/ 1940852 h 4128992"/>
                <a:gd name="connsiteX2" fmla="*/ 3450690 w 4550955"/>
                <a:gd name="connsiteY2" fmla="*/ 1943157 h 4128992"/>
                <a:gd name="connsiteX3" fmla="*/ 2950190 w 4550955"/>
                <a:gd name="connsiteY3" fmla="*/ 2606478 h 4128992"/>
                <a:gd name="connsiteX4" fmla="*/ 2820211 w 4550955"/>
                <a:gd name="connsiteY4" fmla="*/ 2323881 h 4128992"/>
                <a:gd name="connsiteX5" fmla="*/ 2725466 w 4550955"/>
                <a:gd name="connsiteY5" fmla="*/ 2288829 h 4128992"/>
                <a:gd name="connsiteX6" fmla="*/ 2690414 w 4550955"/>
                <a:gd name="connsiteY6" fmla="*/ 2383574 h 4128992"/>
                <a:gd name="connsiteX7" fmla="*/ 2852491 w 4550955"/>
                <a:gd name="connsiteY7" fmla="*/ 2735952 h 4128992"/>
                <a:gd name="connsiteX8" fmla="*/ 2664678 w 4550955"/>
                <a:gd name="connsiteY8" fmla="*/ 2984868 h 4128992"/>
                <a:gd name="connsiteX9" fmla="*/ 2087720 w 4550955"/>
                <a:gd name="connsiteY9" fmla="*/ 3198895 h 4128992"/>
                <a:gd name="connsiteX10" fmla="*/ 2048991 w 4550955"/>
                <a:gd name="connsiteY10" fmla="*/ 3233290 h 4128992"/>
                <a:gd name="connsiteX11" fmla="*/ 1847775 w 4550955"/>
                <a:gd name="connsiteY11" fmla="*/ 3625901 h 4128992"/>
                <a:gd name="connsiteX12" fmla="*/ 1641978 w 4550955"/>
                <a:gd name="connsiteY12" fmla="*/ 3559521 h 4128992"/>
                <a:gd name="connsiteX13" fmla="*/ 1206343 w 4550955"/>
                <a:gd name="connsiteY13" fmla="*/ 3097597 h 4128992"/>
                <a:gd name="connsiteX14" fmla="*/ 1739362 w 4550955"/>
                <a:gd name="connsiteY14" fmla="*/ 1938852 h 4128992"/>
                <a:gd name="connsiteX15" fmla="*/ 1855110 w 4550955"/>
                <a:gd name="connsiteY15" fmla="*/ 1985153 h 4128992"/>
                <a:gd name="connsiteX16" fmla="*/ 1917632 w 4550955"/>
                <a:gd name="connsiteY16" fmla="*/ 1980533 h 4128992"/>
                <a:gd name="connsiteX17" fmla="*/ 2112561 w 4550955"/>
                <a:gd name="connsiteY17" fmla="*/ 1866824 h 4128992"/>
                <a:gd name="connsiteX18" fmla="*/ 2307490 w 4550955"/>
                <a:gd name="connsiteY18" fmla="*/ 1980533 h 4128992"/>
                <a:gd name="connsiteX19" fmla="*/ 2343485 w 4550955"/>
                <a:gd name="connsiteY19" fmla="*/ 1990258 h 4128992"/>
                <a:gd name="connsiteX20" fmla="*/ 2370012 w 4550955"/>
                <a:gd name="connsiteY20" fmla="*/ 1985153 h 4128992"/>
                <a:gd name="connsiteX21" fmla="*/ 2485760 w 4550955"/>
                <a:gd name="connsiteY21" fmla="*/ 1938852 h 4128992"/>
                <a:gd name="connsiteX22" fmla="*/ 2551044 w 4550955"/>
                <a:gd name="connsiteY22" fmla="*/ 2080784 h 4128992"/>
                <a:gd name="connsiteX23" fmla="*/ 2645789 w 4550955"/>
                <a:gd name="connsiteY23" fmla="*/ 2115826 h 4128992"/>
                <a:gd name="connsiteX24" fmla="*/ 2680841 w 4550955"/>
                <a:gd name="connsiteY24" fmla="*/ 2021072 h 4128992"/>
                <a:gd name="connsiteX25" fmla="*/ 2183998 w 4550955"/>
                <a:gd name="connsiteY25" fmla="*/ 940965 h 4128992"/>
                <a:gd name="connsiteX26" fmla="*/ 2183998 w 4550955"/>
                <a:gd name="connsiteY26" fmla="*/ 739435 h 4128992"/>
                <a:gd name="connsiteX27" fmla="*/ 2882305 w 4550955"/>
                <a:gd name="connsiteY27" fmla="*/ 739435 h 4128992"/>
                <a:gd name="connsiteX28" fmla="*/ 2942827 w 4550955"/>
                <a:gd name="connsiteY28" fmla="*/ 705945 h 4128992"/>
                <a:gd name="connsiteX29" fmla="*/ 2946598 w 4550955"/>
                <a:gd name="connsiteY29" fmla="*/ 636880 h 4128992"/>
                <a:gd name="connsiteX30" fmla="*/ 2817325 w 4550955"/>
                <a:gd name="connsiteY30" fmla="*/ 369722 h 4128992"/>
                <a:gd name="connsiteX31" fmla="*/ 2946598 w 4550955"/>
                <a:gd name="connsiteY31" fmla="*/ 102556 h 4128992"/>
                <a:gd name="connsiteX32" fmla="*/ 2942827 w 4550955"/>
                <a:gd name="connsiteY32" fmla="*/ 33490 h 4128992"/>
                <a:gd name="connsiteX33" fmla="*/ 2882305 w 4550955"/>
                <a:gd name="connsiteY33" fmla="*/ 0 h 4128992"/>
                <a:gd name="connsiteX34" fmla="*/ 2112561 w 4550955"/>
                <a:gd name="connsiteY34" fmla="*/ 0 h 4128992"/>
                <a:gd name="connsiteX35" fmla="*/ 2041123 w 4550955"/>
                <a:gd name="connsiteY35" fmla="*/ 71438 h 4128992"/>
                <a:gd name="connsiteX36" fmla="*/ 2041123 w 4550955"/>
                <a:gd name="connsiteY36" fmla="*/ 940946 h 4128992"/>
                <a:gd name="connsiteX37" fmla="*/ 1100634 w 4550955"/>
                <a:gd name="connsiteY37" fmla="*/ 2985506 h 4128992"/>
                <a:gd name="connsiteX38" fmla="*/ 538431 w 4550955"/>
                <a:gd name="connsiteY38" fmla="*/ 2389384 h 4128992"/>
                <a:gd name="connsiteX39" fmla="*/ 477118 w 4550955"/>
                <a:gd name="connsiteY39" fmla="*/ 2367572 h 4128992"/>
                <a:gd name="connsiteX40" fmla="*/ 423559 w 4550955"/>
                <a:gd name="connsiteY40" fmla="*/ 2404529 h 4128992"/>
                <a:gd name="connsiteX41" fmla="*/ 8555 w 4550955"/>
                <a:gd name="connsiteY41" fmla="*/ 3175292 h 4128992"/>
                <a:gd name="connsiteX42" fmla="*/ 37587 w 4550955"/>
                <a:gd name="connsiteY42" fmla="*/ 3272057 h 4128992"/>
                <a:gd name="connsiteX43" fmla="*/ 134352 w 4550955"/>
                <a:gd name="connsiteY43" fmla="*/ 3243024 h 4128992"/>
                <a:gd name="connsiteX44" fmla="*/ 230659 w 4550955"/>
                <a:gd name="connsiteY44" fmla="*/ 3064164 h 4128992"/>
                <a:gd name="connsiteX45" fmla="*/ 417644 w 4550955"/>
                <a:gd name="connsiteY45" fmla="*/ 3190380 h 4128992"/>
                <a:gd name="connsiteX46" fmla="*/ 506579 w 4550955"/>
                <a:gd name="connsiteY46" fmla="*/ 3183188 h 4128992"/>
                <a:gd name="connsiteX47" fmla="*/ 620593 w 4550955"/>
                <a:gd name="connsiteY47" fmla="*/ 3075880 h 4128992"/>
                <a:gd name="connsiteX48" fmla="*/ 841011 w 4550955"/>
                <a:gd name="connsiteY48" fmla="*/ 3288421 h 4128992"/>
                <a:gd name="connsiteX49" fmla="*/ 890599 w 4550955"/>
                <a:gd name="connsiteY49" fmla="*/ 3308442 h 4128992"/>
                <a:gd name="connsiteX50" fmla="*/ 895047 w 4550955"/>
                <a:gd name="connsiteY50" fmla="*/ 3308299 h 4128992"/>
                <a:gd name="connsiteX51" fmla="*/ 946186 w 4550955"/>
                <a:gd name="connsiteY51" fmla="*/ 3281867 h 4128992"/>
                <a:gd name="connsiteX52" fmla="*/ 1055734 w 4550955"/>
                <a:gd name="connsiteY52" fmla="*/ 3146127 h 4128992"/>
                <a:gd name="connsiteX53" fmla="*/ 1068487 w 4550955"/>
                <a:gd name="connsiteY53" fmla="*/ 3159643 h 4128992"/>
                <a:gd name="connsiteX54" fmla="*/ 1068640 w 4550955"/>
                <a:gd name="connsiteY54" fmla="*/ 3159805 h 4128992"/>
                <a:gd name="connsiteX55" fmla="*/ 1550633 w 4550955"/>
                <a:gd name="connsiteY55" fmla="*/ 3670878 h 4128992"/>
                <a:gd name="connsiteX56" fmla="*/ 1580675 w 4550955"/>
                <a:gd name="connsiteY56" fmla="*/ 3689852 h 4128992"/>
                <a:gd name="connsiteX57" fmla="*/ 2155328 w 4550955"/>
                <a:gd name="connsiteY57" fmla="*/ 3875199 h 4128992"/>
                <a:gd name="connsiteX58" fmla="*/ 2321225 w 4550955"/>
                <a:gd name="connsiteY58" fmla="*/ 4099970 h 4128992"/>
                <a:gd name="connsiteX59" fmla="*/ 2378756 w 4550955"/>
                <a:gd name="connsiteY59" fmla="*/ 4128993 h 4128992"/>
                <a:gd name="connsiteX60" fmla="*/ 2421123 w 4550955"/>
                <a:gd name="connsiteY60" fmla="*/ 4115019 h 4128992"/>
                <a:gd name="connsiteX61" fmla="*/ 2436173 w 4550955"/>
                <a:gd name="connsiteY61" fmla="*/ 4015121 h 4128992"/>
                <a:gd name="connsiteX62" fmla="*/ 2256617 w 4550955"/>
                <a:gd name="connsiteY62" fmla="*/ 3771852 h 4128992"/>
                <a:gd name="connsiteX63" fmla="*/ 2221070 w 4550955"/>
                <a:gd name="connsiteY63" fmla="*/ 3746287 h 4128992"/>
                <a:gd name="connsiteX64" fmla="*/ 1985555 w 4550955"/>
                <a:gd name="connsiteY64" fmla="*/ 3670325 h 4128992"/>
                <a:gd name="connsiteX65" fmla="*/ 2163463 w 4550955"/>
                <a:gd name="connsiteY65" fmla="*/ 3323168 h 4128992"/>
                <a:gd name="connsiteX66" fmla="*/ 2733953 w 4550955"/>
                <a:gd name="connsiteY66" fmla="*/ 3111542 h 4128992"/>
                <a:gd name="connsiteX67" fmla="*/ 2766138 w 4550955"/>
                <a:gd name="connsiteY67" fmla="*/ 3087586 h 4128992"/>
                <a:gd name="connsiteX68" fmla="*/ 3087654 w 4550955"/>
                <a:gd name="connsiteY68" fmla="*/ 2661476 h 4128992"/>
                <a:gd name="connsiteX69" fmla="*/ 3270201 w 4550955"/>
                <a:gd name="connsiteY69" fmla="*/ 2878817 h 4128992"/>
                <a:gd name="connsiteX70" fmla="*/ 3320731 w 4550955"/>
                <a:gd name="connsiteY70" fmla="*/ 2904192 h 4128992"/>
                <a:gd name="connsiteX71" fmla="*/ 3373871 w 4550955"/>
                <a:gd name="connsiteY71" fmla="*/ 2884904 h 4128992"/>
                <a:gd name="connsiteX72" fmla="*/ 3486133 w 4550955"/>
                <a:gd name="connsiteY72" fmla="*/ 2779233 h 4128992"/>
                <a:gd name="connsiteX73" fmla="*/ 3725791 w 4550955"/>
                <a:gd name="connsiteY73" fmla="*/ 3026883 h 4128992"/>
                <a:gd name="connsiteX74" fmla="*/ 3777150 w 4550955"/>
                <a:gd name="connsiteY74" fmla="*/ 3048638 h 4128992"/>
                <a:gd name="connsiteX75" fmla="*/ 3820498 w 4550955"/>
                <a:gd name="connsiteY75" fmla="*/ 3033970 h 4128992"/>
                <a:gd name="connsiteX76" fmla="*/ 4100248 w 4550955"/>
                <a:gd name="connsiteY76" fmla="*/ 2820305 h 4128992"/>
                <a:gd name="connsiteX77" fmla="*/ 4424326 w 4550955"/>
                <a:gd name="connsiteY77" fmla="*/ 3214973 h 4128992"/>
                <a:gd name="connsiteX78" fmla="*/ 4524872 w 4550955"/>
                <a:gd name="connsiteY78" fmla="*/ 3224841 h 4128992"/>
                <a:gd name="connsiteX79" fmla="*/ 4534721 w 4550955"/>
                <a:gd name="connsiteY79" fmla="*/ 3124324 h 4128992"/>
                <a:gd name="connsiteX80" fmla="*/ 2349343 w 4550955"/>
                <a:gd name="connsiteY80" fmla="*/ 1839544 h 4128992"/>
                <a:gd name="connsiteX81" fmla="*/ 2148556 w 4550955"/>
                <a:gd name="connsiteY81" fmla="*/ 1722415 h 4128992"/>
                <a:gd name="connsiteX82" fmla="*/ 2076556 w 4550955"/>
                <a:gd name="connsiteY82" fmla="*/ 1722415 h 4128992"/>
                <a:gd name="connsiteX83" fmla="*/ 1875769 w 4550955"/>
                <a:gd name="connsiteY83" fmla="*/ 1839544 h 4128992"/>
                <a:gd name="connsiteX84" fmla="*/ 1799131 w 4550955"/>
                <a:gd name="connsiteY84" fmla="*/ 1808893 h 4128992"/>
                <a:gd name="connsiteX85" fmla="*/ 2112551 w 4550955"/>
                <a:gd name="connsiteY85" fmla="*/ 1127541 h 4128992"/>
                <a:gd name="connsiteX86" fmla="*/ 2425972 w 4550955"/>
                <a:gd name="connsiteY86" fmla="*/ 1808893 h 4128992"/>
                <a:gd name="connsiteX87" fmla="*/ 2673669 w 4550955"/>
                <a:gd name="connsiteY87" fmla="*/ 400850 h 4128992"/>
                <a:gd name="connsiteX88" fmla="*/ 2768376 w 4550955"/>
                <a:gd name="connsiteY88" fmla="*/ 596570 h 4128992"/>
                <a:gd name="connsiteX89" fmla="*/ 2183998 w 4550955"/>
                <a:gd name="connsiteY89" fmla="*/ 596570 h 4128992"/>
                <a:gd name="connsiteX90" fmla="*/ 2183998 w 4550955"/>
                <a:gd name="connsiteY90" fmla="*/ 142894 h 4128992"/>
                <a:gd name="connsiteX91" fmla="*/ 2768376 w 4550955"/>
                <a:gd name="connsiteY91" fmla="*/ 142894 h 4128992"/>
                <a:gd name="connsiteX92" fmla="*/ 2673669 w 4550955"/>
                <a:gd name="connsiteY92" fmla="*/ 338623 h 4128992"/>
                <a:gd name="connsiteX93" fmla="*/ 2673669 w 4550955"/>
                <a:gd name="connsiteY93" fmla="*/ 400850 h 4128992"/>
                <a:gd name="connsiteX94" fmla="*/ 883998 w 4550955"/>
                <a:gd name="connsiteY94" fmla="*/ 3131430 h 4128992"/>
                <a:gd name="connsiteX95" fmla="*/ 670762 w 4550955"/>
                <a:gd name="connsiteY95" fmla="*/ 2925813 h 4128992"/>
                <a:gd name="connsiteX96" fmla="*/ 572206 w 4550955"/>
                <a:gd name="connsiteY96" fmla="*/ 2925213 h 4128992"/>
                <a:gd name="connsiteX97" fmla="*/ 450248 w 4550955"/>
                <a:gd name="connsiteY97" fmla="*/ 3040009 h 4128992"/>
                <a:gd name="connsiteX98" fmla="*/ 298734 w 4550955"/>
                <a:gd name="connsiteY98" fmla="*/ 2937739 h 4128992"/>
                <a:gd name="connsiteX99" fmla="*/ 502417 w 4550955"/>
                <a:gd name="connsiteY99" fmla="*/ 2559453 h 4128992"/>
                <a:gd name="connsiteX100" fmla="*/ 956788 w 4550955"/>
                <a:gd name="connsiteY100" fmla="*/ 3041247 h 4128992"/>
                <a:gd name="connsiteX101" fmla="*/ 3784265 w 4550955"/>
                <a:gd name="connsiteY101" fmla="*/ 2881884 h 4128992"/>
                <a:gd name="connsiteX102" fmla="*/ 3539806 w 4550955"/>
                <a:gd name="connsiteY102" fmla="*/ 2629272 h 4128992"/>
                <a:gd name="connsiteX103" fmla="*/ 3439508 w 4550955"/>
                <a:gd name="connsiteY103" fmla="*/ 2626938 h 4128992"/>
                <a:gd name="connsiteX104" fmla="*/ 3330980 w 4550955"/>
                <a:gd name="connsiteY104" fmla="*/ 2729084 h 4128992"/>
                <a:gd name="connsiteX105" fmla="*/ 3175941 w 4550955"/>
                <a:gd name="connsiteY105" fmla="*/ 2544490 h 4128992"/>
                <a:gd name="connsiteX106" fmla="*/ 3510078 w 4550955"/>
                <a:gd name="connsiteY106" fmla="*/ 2101653 h 4128992"/>
                <a:gd name="connsiteX107" fmla="*/ 4009493 w 4550955"/>
                <a:gd name="connsiteY107" fmla="*/ 2709853 h 412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4550955" h="4128992">
                  <a:moveTo>
                    <a:pt x="4534721" y="3124324"/>
                  </a:moveTo>
                  <a:lnTo>
                    <a:pt x="3562923" y="1940852"/>
                  </a:lnTo>
                  <a:cubicBezTo>
                    <a:pt x="3535320" y="1905457"/>
                    <a:pt x="3476798" y="1906676"/>
                    <a:pt x="3450690" y="1943157"/>
                  </a:cubicBezTo>
                  <a:lnTo>
                    <a:pt x="2950190" y="2606478"/>
                  </a:lnTo>
                  <a:lnTo>
                    <a:pt x="2820211" y="2323881"/>
                  </a:lnTo>
                  <a:cubicBezTo>
                    <a:pt x="2803743" y="2288048"/>
                    <a:pt x="2761318" y="2272351"/>
                    <a:pt x="2725466" y="2288829"/>
                  </a:cubicBezTo>
                  <a:cubicBezTo>
                    <a:pt x="2689614" y="2305307"/>
                    <a:pt x="2673926" y="2347741"/>
                    <a:pt x="2690414" y="2383574"/>
                  </a:cubicBezTo>
                  <a:lnTo>
                    <a:pt x="2852491" y="2735952"/>
                  </a:lnTo>
                  <a:lnTo>
                    <a:pt x="2664678" y="2984868"/>
                  </a:lnTo>
                  <a:lnTo>
                    <a:pt x="2087720" y="3198895"/>
                  </a:lnTo>
                  <a:cubicBezTo>
                    <a:pt x="2070956" y="3205115"/>
                    <a:pt x="2057144" y="3217383"/>
                    <a:pt x="2048991" y="3233290"/>
                  </a:cubicBezTo>
                  <a:lnTo>
                    <a:pt x="1847775" y="3625901"/>
                  </a:lnTo>
                  <a:lnTo>
                    <a:pt x="1641978" y="3559521"/>
                  </a:lnTo>
                  <a:lnTo>
                    <a:pt x="1206343" y="3097597"/>
                  </a:lnTo>
                  <a:lnTo>
                    <a:pt x="1739362" y="1938852"/>
                  </a:lnTo>
                  <a:lnTo>
                    <a:pt x="1855110" y="1985153"/>
                  </a:lnTo>
                  <a:cubicBezTo>
                    <a:pt x="1875550" y="1993316"/>
                    <a:pt x="1898610" y="1991630"/>
                    <a:pt x="1917632" y="1980533"/>
                  </a:cubicBezTo>
                  <a:lnTo>
                    <a:pt x="2112561" y="1866824"/>
                  </a:lnTo>
                  <a:lnTo>
                    <a:pt x="2307490" y="1980533"/>
                  </a:lnTo>
                  <a:cubicBezTo>
                    <a:pt x="2318558" y="1986991"/>
                    <a:pt x="2330998" y="1990258"/>
                    <a:pt x="2343485" y="1990258"/>
                  </a:cubicBezTo>
                  <a:cubicBezTo>
                    <a:pt x="2352458" y="1990258"/>
                    <a:pt x="2361478" y="1988563"/>
                    <a:pt x="2370012" y="1985153"/>
                  </a:cubicBezTo>
                  <a:lnTo>
                    <a:pt x="2485760" y="1938852"/>
                  </a:lnTo>
                  <a:lnTo>
                    <a:pt x="2551044" y="2080784"/>
                  </a:lnTo>
                  <a:cubicBezTo>
                    <a:pt x="2567522" y="2116617"/>
                    <a:pt x="2609966" y="2132295"/>
                    <a:pt x="2645789" y="2115826"/>
                  </a:cubicBezTo>
                  <a:cubicBezTo>
                    <a:pt x="2681642" y="2099348"/>
                    <a:pt x="2697329" y="2056914"/>
                    <a:pt x="2680841" y="2021072"/>
                  </a:cubicBezTo>
                  <a:lnTo>
                    <a:pt x="2183998" y="940965"/>
                  </a:lnTo>
                  <a:lnTo>
                    <a:pt x="2183998" y="739435"/>
                  </a:lnTo>
                  <a:lnTo>
                    <a:pt x="2882305" y="739435"/>
                  </a:lnTo>
                  <a:cubicBezTo>
                    <a:pt x="2906898" y="739435"/>
                    <a:pt x="2929758" y="726786"/>
                    <a:pt x="2942827" y="705945"/>
                  </a:cubicBezTo>
                  <a:cubicBezTo>
                    <a:pt x="2955885" y="685105"/>
                    <a:pt x="2957314" y="659016"/>
                    <a:pt x="2946598" y="636880"/>
                  </a:cubicBezTo>
                  <a:lnTo>
                    <a:pt x="2817325" y="369722"/>
                  </a:lnTo>
                  <a:lnTo>
                    <a:pt x="2946598" y="102556"/>
                  </a:lnTo>
                  <a:cubicBezTo>
                    <a:pt x="2957314" y="80420"/>
                    <a:pt x="2955885" y="54331"/>
                    <a:pt x="2942827" y="33490"/>
                  </a:cubicBezTo>
                  <a:cubicBezTo>
                    <a:pt x="2929758" y="12659"/>
                    <a:pt x="2906898" y="0"/>
                    <a:pt x="2882305" y="0"/>
                  </a:cubicBezTo>
                  <a:lnTo>
                    <a:pt x="2112561" y="0"/>
                  </a:lnTo>
                  <a:cubicBezTo>
                    <a:pt x="2073099" y="0"/>
                    <a:pt x="2041123" y="31975"/>
                    <a:pt x="2041123" y="71438"/>
                  </a:cubicBezTo>
                  <a:lnTo>
                    <a:pt x="2041123" y="940946"/>
                  </a:lnTo>
                  <a:lnTo>
                    <a:pt x="1100634" y="2985506"/>
                  </a:lnTo>
                  <a:lnTo>
                    <a:pt x="538431" y="2389384"/>
                  </a:lnTo>
                  <a:cubicBezTo>
                    <a:pt x="522686" y="2372687"/>
                    <a:pt x="499816" y="2364610"/>
                    <a:pt x="477118" y="2367572"/>
                  </a:cubicBezTo>
                  <a:cubicBezTo>
                    <a:pt x="454363" y="2370563"/>
                    <a:pt x="434446" y="2384327"/>
                    <a:pt x="423559" y="2404529"/>
                  </a:cubicBezTo>
                  <a:lnTo>
                    <a:pt x="8555" y="3175292"/>
                  </a:lnTo>
                  <a:cubicBezTo>
                    <a:pt x="-10152" y="3210030"/>
                    <a:pt x="2840" y="3253350"/>
                    <a:pt x="37587" y="3272057"/>
                  </a:cubicBezTo>
                  <a:cubicBezTo>
                    <a:pt x="72325" y="3290773"/>
                    <a:pt x="115654" y="3277762"/>
                    <a:pt x="134352" y="3243024"/>
                  </a:cubicBezTo>
                  <a:lnTo>
                    <a:pt x="230659" y="3064164"/>
                  </a:lnTo>
                  <a:lnTo>
                    <a:pt x="417644" y="3190380"/>
                  </a:lnTo>
                  <a:cubicBezTo>
                    <a:pt x="445343" y="3209058"/>
                    <a:pt x="482252" y="3206077"/>
                    <a:pt x="506579" y="3183188"/>
                  </a:cubicBezTo>
                  <a:lnTo>
                    <a:pt x="620593" y="3075880"/>
                  </a:lnTo>
                  <a:lnTo>
                    <a:pt x="841011" y="3288421"/>
                  </a:lnTo>
                  <a:cubicBezTo>
                    <a:pt x="854365" y="3301308"/>
                    <a:pt x="872158" y="3308442"/>
                    <a:pt x="890599" y="3308442"/>
                  </a:cubicBezTo>
                  <a:cubicBezTo>
                    <a:pt x="892075" y="3308442"/>
                    <a:pt x="893561" y="3308395"/>
                    <a:pt x="895047" y="3308299"/>
                  </a:cubicBezTo>
                  <a:cubicBezTo>
                    <a:pt x="915049" y="3307052"/>
                    <a:pt x="933604" y="3297460"/>
                    <a:pt x="946186" y="3281867"/>
                  </a:cubicBezTo>
                  <a:lnTo>
                    <a:pt x="1055734" y="3146127"/>
                  </a:lnTo>
                  <a:lnTo>
                    <a:pt x="1068487" y="3159643"/>
                  </a:lnTo>
                  <a:cubicBezTo>
                    <a:pt x="1068535" y="3159700"/>
                    <a:pt x="1068592" y="3159747"/>
                    <a:pt x="1068640" y="3159805"/>
                  </a:cubicBezTo>
                  <a:lnTo>
                    <a:pt x="1550633" y="3670878"/>
                  </a:lnTo>
                  <a:cubicBezTo>
                    <a:pt x="1558882" y="3679632"/>
                    <a:pt x="1569217" y="3686156"/>
                    <a:pt x="1580675" y="3689852"/>
                  </a:cubicBezTo>
                  <a:lnTo>
                    <a:pt x="2155328" y="3875199"/>
                  </a:lnTo>
                  <a:lnTo>
                    <a:pt x="2321225" y="4099970"/>
                  </a:lnTo>
                  <a:cubicBezTo>
                    <a:pt x="2335236" y="4118943"/>
                    <a:pt x="2356849" y="4128993"/>
                    <a:pt x="2378756" y="4128993"/>
                  </a:cubicBezTo>
                  <a:cubicBezTo>
                    <a:pt x="2393491" y="4128983"/>
                    <a:pt x="2408350" y="4124439"/>
                    <a:pt x="2421123" y="4115019"/>
                  </a:cubicBezTo>
                  <a:cubicBezTo>
                    <a:pt x="2452861" y="4091588"/>
                    <a:pt x="2459604" y="4046868"/>
                    <a:pt x="2436173" y="4015121"/>
                  </a:cubicBezTo>
                  <a:lnTo>
                    <a:pt x="2256617" y="3771852"/>
                  </a:lnTo>
                  <a:cubicBezTo>
                    <a:pt x="2247730" y="3759822"/>
                    <a:pt x="2235310" y="3750878"/>
                    <a:pt x="2221070" y="3746287"/>
                  </a:cubicBezTo>
                  <a:lnTo>
                    <a:pt x="1985555" y="3670325"/>
                  </a:lnTo>
                  <a:lnTo>
                    <a:pt x="2163463" y="3323168"/>
                  </a:lnTo>
                  <a:lnTo>
                    <a:pt x="2733953" y="3111542"/>
                  </a:lnTo>
                  <a:cubicBezTo>
                    <a:pt x="2746755" y="3106788"/>
                    <a:pt x="2757918" y="3098483"/>
                    <a:pt x="2766138" y="3087586"/>
                  </a:cubicBezTo>
                  <a:lnTo>
                    <a:pt x="3087654" y="2661476"/>
                  </a:lnTo>
                  <a:lnTo>
                    <a:pt x="3270201" y="2878817"/>
                  </a:lnTo>
                  <a:cubicBezTo>
                    <a:pt x="3282840" y="2893866"/>
                    <a:pt x="3301109" y="2903039"/>
                    <a:pt x="3320731" y="2904192"/>
                  </a:cubicBezTo>
                  <a:cubicBezTo>
                    <a:pt x="3340362" y="2905382"/>
                    <a:pt x="3359555" y="2898362"/>
                    <a:pt x="3373871" y="2884904"/>
                  </a:cubicBezTo>
                  <a:lnTo>
                    <a:pt x="3486133" y="2779233"/>
                  </a:lnTo>
                  <a:lnTo>
                    <a:pt x="3725791" y="3026883"/>
                  </a:lnTo>
                  <a:cubicBezTo>
                    <a:pt x="3739717" y="3041275"/>
                    <a:pt x="3758386" y="3048638"/>
                    <a:pt x="3777150" y="3048638"/>
                  </a:cubicBezTo>
                  <a:cubicBezTo>
                    <a:pt x="3792352" y="3048638"/>
                    <a:pt x="3807611" y="3043809"/>
                    <a:pt x="3820498" y="3033970"/>
                  </a:cubicBezTo>
                  <a:lnTo>
                    <a:pt x="4100248" y="2820305"/>
                  </a:lnTo>
                  <a:lnTo>
                    <a:pt x="4424326" y="3214973"/>
                  </a:lnTo>
                  <a:cubicBezTo>
                    <a:pt x="4449358" y="3245463"/>
                    <a:pt x="4494373" y="3249892"/>
                    <a:pt x="4524872" y="3224841"/>
                  </a:cubicBezTo>
                  <a:cubicBezTo>
                    <a:pt x="4555343" y="3199838"/>
                    <a:pt x="4559762" y="3154823"/>
                    <a:pt x="4534721" y="3124324"/>
                  </a:cubicBezTo>
                  <a:close/>
                  <a:moveTo>
                    <a:pt x="2349343" y="1839544"/>
                  </a:moveTo>
                  <a:lnTo>
                    <a:pt x="2148556" y="1722415"/>
                  </a:lnTo>
                  <a:cubicBezTo>
                    <a:pt x="2126305" y="1709452"/>
                    <a:pt x="2098807" y="1709452"/>
                    <a:pt x="2076556" y="1722415"/>
                  </a:cubicBezTo>
                  <a:lnTo>
                    <a:pt x="1875769" y="1839544"/>
                  </a:lnTo>
                  <a:lnTo>
                    <a:pt x="1799131" y="1808893"/>
                  </a:lnTo>
                  <a:lnTo>
                    <a:pt x="2112551" y="1127541"/>
                  </a:lnTo>
                  <a:lnTo>
                    <a:pt x="2425972" y="1808893"/>
                  </a:lnTo>
                  <a:close/>
                  <a:moveTo>
                    <a:pt x="2673669" y="400850"/>
                  </a:moveTo>
                  <a:lnTo>
                    <a:pt x="2768376" y="596570"/>
                  </a:lnTo>
                  <a:lnTo>
                    <a:pt x="2183998" y="596570"/>
                  </a:lnTo>
                  <a:lnTo>
                    <a:pt x="2183998" y="142894"/>
                  </a:lnTo>
                  <a:lnTo>
                    <a:pt x="2768376" y="142894"/>
                  </a:lnTo>
                  <a:lnTo>
                    <a:pt x="2673669" y="338623"/>
                  </a:lnTo>
                  <a:cubicBezTo>
                    <a:pt x="2664154" y="358273"/>
                    <a:pt x="2664154" y="381191"/>
                    <a:pt x="2673669" y="400850"/>
                  </a:cubicBezTo>
                  <a:close/>
                  <a:moveTo>
                    <a:pt x="883998" y="3131430"/>
                  </a:moveTo>
                  <a:lnTo>
                    <a:pt x="670762" y="2925813"/>
                  </a:lnTo>
                  <a:cubicBezTo>
                    <a:pt x="643320" y="2899353"/>
                    <a:pt x="599962" y="2899096"/>
                    <a:pt x="572206" y="2925213"/>
                  </a:cubicBezTo>
                  <a:lnTo>
                    <a:pt x="450248" y="3040009"/>
                  </a:lnTo>
                  <a:lnTo>
                    <a:pt x="298734" y="2937739"/>
                  </a:lnTo>
                  <a:lnTo>
                    <a:pt x="502417" y="2559453"/>
                  </a:lnTo>
                  <a:lnTo>
                    <a:pt x="956788" y="3041247"/>
                  </a:lnTo>
                  <a:close/>
                  <a:moveTo>
                    <a:pt x="3784265" y="2881884"/>
                  </a:moveTo>
                  <a:lnTo>
                    <a:pt x="3539806" y="2629272"/>
                  </a:lnTo>
                  <a:cubicBezTo>
                    <a:pt x="3512622" y="2601201"/>
                    <a:pt x="3467940" y="2600154"/>
                    <a:pt x="3439508" y="2626938"/>
                  </a:cubicBezTo>
                  <a:lnTo>
                    <a:pt x="3330980" y="2729084"/>
                  </a:lnTo>
                  <a:lnTo>
                    <a:pt x="3175941" y="2544490"/>
                  </a:lnTo>
                  <a:lnTo>
                    <a:pt x="3510078" y="2101653"/>
                  </a:lnTo>
                  <a:lnTo>
                    <a:pt x="4009493" y="2709853"/>
                  </a:ln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orma libre 18">
              <a:extLst>
                <a:ext uri="{FF2B5EF4-FFF2-40B4-BE49-F238E27FC236}">
                  <a16:creationId xmlns:a16="http://schemas.microsoft.com/office/drawing/2014/main" id="{BB042AFA-0726-9848-8897-DA65E8A8253A}"/>
                </a:ext>
              </a:extLst>
            </p:cNvPr>
            <p:cNvSpPr/>
            <p:nvPr/>
          </p:nvSpPr>
          <p:spPr>
            <a:xfrm>
              <a:off x="6488521" y="5244937"/>
              <a:ext cx="496735" cy="622451"/>
            </a:xfrm>
            <a:custGeom>
              <a:avLst/>
              <a:gdLst>
                <a:gd name="connsiteX0" fmla="*/ 128924 w 496735"/>
                <a:gd name="connsiteY0" fmla="*/ 29025 h 622451"/>
                <a:gd name="connsiteX1" fmla="*/ 29026 w 496735"/>
                <a:gd name="connsiteY1" fmla="*/ 13956 h 622451"/>
                <a:gd name="connsiteX2" fmla="*/ 13957 w 496735"/>
                <a:gd name="connsiteY2" fmla="*/ 113854 h 622451"/>
                <a:gd name="connsiteX3" fmla="*/ 367811 w 496735"/>
                <a:gd name="connsiteY3" fmla="*/ 593429 h 622451"/>
                <a:gd name="connsiteX4" fmla="*/ 425352 w 496735"/>
                <a:gd name="connsiteY4" fmla="*/ 622451 h 622451"/>
                <a:gd name="connsiteX5" fmla="*/ 467709 w 496735"/>
                <a:gd name="connsiteY5" fmla="*/ 608497 h 622451"/>
                <a:gd name="connsiteX6" fmla="*/ 482778 w 496735"/>
                <a:gd name="connsiteY6" fmla="*/ 508599 h 62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6735" h="622451">
                  <a:moveTo>
                    <a:pt x="128924" y="29025"/>
                  </a:moveTo>
                  <a:cubicBezTo>
                    <a:pt x="105502" y="-2732"/>
                    <a:pt x="60763" y="-9456"/>
                    <a:pt x="29026" y="13956"/>
                  </a:cubicBezTo>
                  <a:cubicBezTo>
                    <a:pt x="-2721" y="37378"/>
                    <a:pt x="-9464" y="82107"/>
                    <a:pt x="13957" y="113854"/>
                  </a:cubicBezTo>
                  <a:lnTo>
                    <a:pt x="367811" y="593429"/>
                  </a:lnTo>
                  <a:cubicBezTo>
                    <a:pt x="381823" y="612412"/>
                    <a:pt x="403444" y="622451"/>
                    <a:pt x="425352" y="622451"/>
                  </a:cubicBezTo>
                  <a:cubicBezTo>
                    <a:pt x="440087" y="622451"/>
                    <a:pt x="454946" y="617908"/>
                    <a:pt x="467709" y="608497"/>
                  </a:cubicBezTo>
                  <a:cubicBezTo>
                    <a:pt x="499456" y="585075"/>
                    <a:pt x="506200" y="540346"/>
                    <a:pt x="482778" y="508599"/>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orma libre 19">
              <a:extLst>
                <a:ext uri="{FF2B5EF4-FFF2-40B4-BE49-F238E27FC236}">
                  <a16:creationId xmlns:a16="http://schemas.microsoft.com/office/drawing/2014/main" id="{2F04BB02-EA11-1E4E-94E3-D0934BA0BAF7}"/>
                </a:ext>
              </a:extLst>
            </p:cNvPr>
            <p:cNvSpPr/>
            <p:nvPr/>
          </p:nvSpPr>
          <p:spPr>
            <a:xfrm>
              <a:off x="3657601" y="4421874"/>
              <a:ext cx="310730" cy="454452"/>
            </a:xfrm>
            <a:custGeom>
              <a:avLst/>
              <a:gdLst>
                <a:gd name="connsiteX0" fmla="*/ 273157 w 310729"/>
                <a:gd name="connsiteY0" fmla="*/ 8557 h 454451"/>
                <a:gd name="connsiteX1" fmla="*/ 176392 w 310729"/>
                <a:gd name="connsiteY1" fmla="*/ 37571 h 454451"/>
                <a:gd name="connsiteX2" fmla="*/ 8562 w 310729"/>
                <a:gd name="connsiteY2" fmla="*/ 349133 h 454451"/>
                <a:gd name="connsiteX3" fmla="*/ 37575 w 310729"/>
                <a:gd name="connsiteY3" fmla="*/ 445898 h 454451"/>
                <a:gd name="connsiteX4" fmla="*/ 71389 w 310729"/>
                <a:gd name="connsiteY4" fmla="*/ 454451 h 454451"/>
                <a:gd name="connsiteX5" fmla="*/ 134339 w 310729"/>
                <a:gd name="connsiteY5" fmla="*/ 416885 h 454451"/>
                <a:gd name="connsiteX6" fmla="*/ 302170 w 310729"/>
                <a:gd name="connsiteY6" fmla="*/ 105322 h 454451"/>
                <a:gd name="connsiteX7" fmla="*/ 273157 w 310729"/>
                <a:gd name="connsiteY7" fmla="*/ 8557 h 454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29" h="454451">
                  <a:moveTo>
                    <a:pt x="273157" y="8557"/>
                  </a:moveTo>
                  <a:cubicBezTo>
                    <a:pt x="238438" y="-10150"/>
                    <a:pt x="195099" y="2833"/>
                    <a:pt x="176392" y="37571"/>
                  </a:cubicBezTo>
                  <a:lnTo>
                    <a:pt x="8562" y="349133"/>
                  </a:lnTo>
                  <a:cubicBezTo>
                    <a:pt x="-10155" y="383861"/>
                    <a:pt x="2837" y="427191"/>
                    <a:pt x="37575" y="445898"/>
                  </a:cubicBezTo>
                  <a:cubicBezTo>
                    <a:pt x="48348" y="451699"/>
                    <a:pt x="59959" y="454451"/>
                    <a:pt x="71389" y="454451"/>
                  </a:cubicBezTo>
                  <a:cubicBezTo>
                    <a:pt x="96820" y="454451"/>
                    <a:pt x="121442" y="440840"/>
                    <a:pt x="134339" y="416885"/>
                  </a:cubicBezTo>
                  <a:lnTo>
                    <a:pt x="302170" y="105322"/>
                  </a:lnTo>
                  <a:cubicBezTo>
                    <a:pt x="320886" y="70594"/>
                    <a:pt x="307885" y="27265"/>
                    <a:pt x="273157" y="8557"/>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1" name="Rectángulo 20">
            <a:extLst>
              <a:ext uri="{FF2B5EF4-FFF2-40B4-BE49-F238E27FC236}">
                <a16:creationId xmlns:a16="http://schemas.microsoft.com/office/drawing/2014/main" id="{6D9ADA50-584A-194D-A57F-E0A64C4F367B}"/>
              </a:ext>
            </a:extLst>
          </p:cNvPr>
          <p:cNvSpPr/>
          <p:nvPr/>
        </p:nvSpPr>
        <p:spPr>
          <a:xfrm>
            <a:off x="0" y="2257623"/>
            <a:ext cx="12192000" cy="3392740"/>
          </a:xfrm>
          <a:prstGeom prst="rect">
            <a:avLst/>
          </a:prstGeom>
          <a:solidFill>
            <a:srgbClr val="D3553F">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pic>
        <p:nvPicPr>
          <p:cNvPr id="22" name="Imagen 21">
            <a:extLst>
              <a:ext uri="{FF2B5EF4-FFF2-40B4-BE49-F238E27FC236}">
                <a16:creationId xmlns:a16="http://schemas.microsoft.com/office/drawing/2014/main" id="{F7BDD067-4AF8-C34D-9B80-0B7AB7FA6562}"/>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p:blipFill>
        <p:spPr bwMode="auto">
          <a:xfrm>
            <a:off x="6787978" y="2"/>
            <a:ext cx="5404022" cy="6857998"/>
          </a:xfrm>
          <a:custGeom>
            <a:avLst/>
            <a:gdLst>
              <a:gd name="connsiteX0" fmla="*/ 1135685 w 5404022"/>
              <a:gd name="connsiteY0" fmla="*/ 0 h 6857998"/>
              <a:gd name="connsiteX1" fmla="*/ 5404022 w 5404022"/>
              <a:gd name="connsiteY1" fmla="*/ 0 h 6857998"/>
              <a:gd name="connsiteX2" fmla="*/ 5404022 w 5404022"/>
              <a:gd name="connsiteY2" fmla="*/ 6857998 h 6857998"/>
              <a:gd name="connsiteX3" fmla="*/ 2689453 w 5404022"/>
              <a:gd name="connsiteY3" fmla="*/ 6857998 h 6857998"/>
              <a:gd name="connsiteX4" fmla="*/ 2607100 w 5404022"/>
              <a:gd name="connsiteY4" fmla="*/ 6825527 h 6857998"/>
              <a:gd name="connsiteX5" fmla="*/ 0 w 5404022"/>
              <a:gd name="connsiteY5" fmla="*/ 2892328 h 6857998"/>
              <a:gd name="connsiteX6" fmla="*/ 974753 w 5404022"/>
              <a:gd name="connsiteY6" fmla="*/ 17707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2" h="6857998">
                <a:moveTo>
                  <a:pt x="1135685" y="0"/>
                </a:moveTo>
                <a:lnTo>
                  <a:pt x="5404022" y="0"/>
                </a:lnTo>
                <a:lnTo>
                  <a:pt x="5404022" y="6857998"/>
                </a:lnTo>
                <a:lnTo>
                  <a:pt x="2689453" y="6857998"/>
                </a:lnTo>
                <a:lnTo>
                  <a:pt x="2607100" y="6825527"/>
                </a:lnTo>
                <a:cubicBezTo>
                  <a:pt x="1075017" y="6177511"/>
                  <a:pt x="0" y="4660461"/>
                  <a:pt x="0" y="2892328"/>
                </a:cubicBezTo>
                <a:cubicBezTo>
                  <a:pt x="0" y="1860918"/>
                  <a:pt x="365805" y="914944"/>
                  <a:pt x="974753" y="177070"/>
                </a:cubicBezTo>
                <a:close/>
              </a:path>
            </a:pathLst>
          </a:custGeom>
          <a:solidFill>
            <a:srgbClr val="FFFFFF"/>
          </a:solidFill>
          <a:ln w="9525">
            <a:noFill/>
          </a:ln>
          <a:effectLst>
            <a:outerShdw blurRad="114300" algn="ctr" rotWithShape="0">
              <a:srgbClr val="000000">
                <a:lumMod val="85000"/>
                <a:lumOff val="15000"/>
                <a:alpha val="15000"/>
              </a:srgbClr>
            </a:outerShdw>
          </a:effectLst>
        </p:spPr>
      </p:pic>
      <p:sp>
        <p:nvSpPr>
          <p:cNvPr id="23" name="Slide Number Placeholder 5">
            <a:extLst>
              <a:ext uri="{FF2B5EF4-FFF2-40B4-BE49-F238E27FC236}">
                <a16:creationId xmlns:a16="http://schemas.microsoft.com/office/drawing/2014/main" id="{4BEE3A3F-50DD-1648-B003-A6AE19067B29}"/>
              </a:ext>
            </a:extLst>
          </p:cNvPr>
          <p:cNvSpPr txBox="1">
            <a:spLocks/>
          </p:cNvSpPr>
          <p:nvPr/>
        </p:nvSpPr>
        <p:spPr>
          <a:xfrm>
            <a:off x="560753" y="6483356"/>
            <a:ext cx="234462"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14D992F-7007-473D-9CAC-8B17A67E3C5E}" type="slidenum">
              <a:rPr kumimoji="0" lang="en-US" sz="900" b="0" i="0" u="none" strike="noStrike" kern="1200" cap="none" spc="0" normalizeH="0" baseline="0" noProof="0" smtClean="0">
                <a:ln>
                  <a:noFill/>
                </a:ln>
                <a:solidFill>
                  <a:srgbClr val="5A2259"/>
                </a:solidFill>
                <a:effectLst/>
                <a:uLnTx/>
                <a:uFillTx/>
                <a:latin typeface="Arial"/>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dirty="0">
              <a:ln>
                <a:noFill/>
              </a:ln>
              <a:solidFill>
                <a:srgbClr val="5A2259"/>
              </a:solidFill>
              <a:effectLst/>
              <a:uLnTx/>
              <a:uFillTx/>
              <a:latin typeface="Arial"/>
              <a:ea typeface="+mn-ea"/>
              <a:cs typeface="+mn-cs"/>
            </a:endParaRPr>
          </a:p>
        </p:txBody>
      </p:sp>
      <p:sp>
        <p:nvSpPr>
          <p:cNvPr id="24" name="Rectángulo 23">
            <a:extLst>
              <a:ext uri="{FF2B5EF4-FFF2-40B4-BE49-F238E27FC236}">
                <a16:creationId xmlns:a16="http://schemas.microsoft.com/office/drawing/2014/main" id="{5C01877C-B761-B64E-A1D2-0B14ABE2B26E}"/>
              </a:ext>
            </a:extLst>
          </p:cNvPr>
          <p:cNvSpPr/>
          <p:nvPr/>
        </p:nvSpPr>
        <p:spPr>
          <a:xfrm>
            <a:off x="1648125" y="1833800"/>
            <a:ext cx="3755898" cy="1702587"/>
          </a:xfrm>
          <a:prstGeom prst="rect">
            <a:avLst/>
          </a:prstGeom>
          <a:solidFill>
            <a:srgbClr val="000000">
              <a:alpha val="31000"/>
            </a:srgbClr>
          </a:solidFill>
          <a:ln w="9525" cap="flat" cmpd="sng" algn="ctr">
            <a:noFill/>
            <a:prstDash val="solid"/>
          </a:ln>
          <a:effectLst>
            <a:softEdge rad="203200"/>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100" normalizeH="0" baseline="0" noProof="0" dirty="0">
              <a:ln>
                <a:noFill/>
              </a:ln>
              <a:solidFill>
                <a:srgbClr val="C5CED5"/>
              </a:solidFill>
              <a:effectLst/>
              <a:uLnTx/>
              <a:uFillTx/>
              <a:latin typeface="Arial" panose="020B0604020202020204" pitchFamily="34" charset="0"/>
              <a:ea typeface="+mn-ea"/>
              <a:cs typeface="Arial" panose="020B0604020202020204" pitchFamily="34" charset="0"/>
            </a:endParaRPr>
          </a:p>
        </p:txBody>
      </p:sp>
      <p:sp>
        <p:nvSpPr>
          <p:cNvPr id="25" name="Rectángulo 24">
            <a:extLst>
              <a:ext uri="{FF2B5EF4-FFF2-40B4-BE49-F238E27FC236}">
                <a16:creationId xmlns:a16="http://schemas.microsoft.com/office/drawing/2014/main" id="{787B4857-4770-8D4C-B946-C4D0CB4C655C}"/>
              </a:ext>
            </a:extLst>
          </p:cNvPr>
          <p:cNvSpPr/>
          <p:nvPr/>
        </p:nvSpPr>
        <p:spPr>
          <a:xfrm>
            <a:off x="1512101" y="1833799"/>
            <a:ext cx="3671870" cy="1702588"/>
          </a:xfrm>
          <a:prstGeom prst="rect">
            <a:avLst/>
          </a:prstGeom>
          <a:noFill/>
          <a:ln w="12700" cap="flat" cmpd="sng" algn="ctr">
            <a:solidFill>
              <a:srgbClr val="43ABB6"/>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100" normalizeH="0" baseline="0" noProof="0" dirty="0">
              <a:ln>
                <a:noFill/>
              </a:ln>
              <a:solidFill>
                <a:srgbClr val="C5CED5"/>
              </a:solidFill>
              <a:effectLst/>
              <a:uLnTx/>
              <a:uFillTx/>
              <a:latin typeface="Arial" panose="020B0604020202020204" pitchFamily="34" charset="0"/>
              <a:ea typeface="+mn-ea"/>
              <a:cs typeface="Arial" panose="020B0604020202020204" pitchFamily="34" charset="0"/>
            </a:endParaRPr>
          </a:p>
        </p:txBody>
      </p:sp>
      <p:cxnSp>
        <p:nvCxnSpPr>
          <p:cNvPr id="28" name="Conector recto 27">
            <a:extLst>
              <a:ext uri="{FF2B5EF4-FFF2-40B4-BE49-F238E27FC236}">
                <a16:creationId xmlns:a16="http://schemas.microsoft.com/office/drawing/2014/main" id="{D7626D15-0000-8149-AD01-E7B216D995E8}"/>
              </a:ext>
            </a:extLst>
          </p:cNvPr>
          <p:cNvCxnSpPr>
            <a:cxnSpLocks/>
          </p:cNvCxnSpPr>
          <p:nvPr/>
        </p:nvCxnSpPr>
        <p:spPr>
          <a:xfrm>
            <a:off x="1798616" y="3536387"/>
            <a:ext cx="0" cy="445894"/>
          </a:xfrm>
          <a:prstGeom prst="line">
            <a:avLst/>
          </a:prstGeom>
          <a:noFill/>
          <a:ln w="12700" cap="rnd" cmpd="sng" algn="ctr">
            <a:solidFill>
              <a:srgbClr val="D3553F"/>
            </a:solidFill>
            <a:prstDash val="dash"/>
            <a:tailEnd type="diamond" w="lg" len="lg"/>
          </a:ln>
          <a:effectLst/>
        </p:spPr>
      </p:cxnSp>
      <p:pic>
        <p:nvPicPr>
          <p:cNvPr id="30" name="Picture 2">
            <a:extLst>
              <a:ext uri="{FF2B5EF4-FFF2-40B4-BE49-F238E27FC236}">
                <a16:creationId xmlns:a16="http://schemas.microsoft.com/office/drawing/2014/main" id="{D1966D7F-CE29-1048-8219-CBD303C2404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212" y="-19547"/>
            <a:ext cx="1796716" cy="898358"/>
          </a:xfrm>
          <a:prstGeom prst="rect">
            <a:avLst/>
          </a:prstGeom>
        </p:spPr>
      </p:pic>
      <p:sp>
        <p:nvSpPr>
          <p:cNvPr id="31" name="Forma libre: forma 34">
            <a:extLst>
              <a:ext uri="{FF2B5EF4-FFF2-40B4-BE49-F238E27FC236}">
                <a16:creationId xmlns:a16="http://schemas.microsoft.com/office/drawing/2014/main" id="{A0374196-B6AA-2A42-91A3-310DE00C25E3}"/>
              </a:ext>
            </a:extLst>
          </p:cNvPr>
          <p:cNvSpPr/>
          <p:nvPr/>
        </p:nvSpPr>
        <p:spPr>
          <a:xfrm>
            <a:off x="6657475" y="-48126"/>
            <a:ext cx="5534526" cy="6906124"/>
          </a:xfrm>
          <a:custGeom>
            <a:avLst/>
            <a:gdLst>
              <a:gd name="connsiteX0" fmla="*/ 1135685 w 5404022"/>
              <a:gd name="connsiteY0" fmla="*/ 0 h 6857998"/>
              <a:gd name="connsiteX1" fmla="*/ 5404022 w 5404022"/>
              <a:gd name="connsiteY1" fmla="*/ 0 h 6857998"/>
              <a:gd name="connsiteX2" fmla="*/ 5404022 w 5404022"/>
              <a:gd name="connsiteY2" fmla="*/ 6857998 h 6857998"/>
              <a:gd name="connsiteX3" fmla="*/ 2689453 w 5404022"/>
              <a:gd name="connsiteY3" fmla="*/ 6857998 h 6857998"/>
              <a:gd name="connsiteX4" fmla="*/ 2607100 w 5404022"/>
              <a:gd name="connsiteY4" fmla="*/ 6825527 h 6857998"/>
              <a:gd name="connsiteX5" fmla="*/ 0 w 5404022"/>
              <a:gd name="connsiteY5" fmla="*/ 2892328 h 6857998"/>
              <a:gd name="connsiteX6" fmla="*/ 974753 w 5404022"/>
              <a:gd name="connsiteY6" fmla="*/ 177070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04022" h="6857998">
                <a:moveTo>
                  <a:pt x="1135685" y="0"/>
                </a:moveTo>
                <a:lnTo>
                  <a:pt x="5404022" y="0"/>
                </a:lnTo>
                <a:lnTo>
                  <a:pt x="5404022" y="6857998"/>
                </a:lnTo>
                <a:lnTo>
                  <a:pt x="2689453" y="6857998"/>
                </a:lnTo>
                <a:lnTo>
                  <a:pt x="2607100" y="6825527"/>
                </a:lnTo>
                <a:cubicBezTo>
                  <a:pt x="1075017" y="6177511"/>
                  <a:pt x="0" y="4660461"/>
                  <a:pt x="0" y="2892328"/>
                </a:cubicBezTo>
                <a:cubicBezTo>
                  <a:pt x="0" y="1860918"/>
                  <a:pt x="365805" y="914944"/>
                  <a:pt x="974753" y="177070"/>
                </a:cubicBezTo>
                <a:close/>
              </a:path>
            </a:pathLst>
          </a:custGeom>
          <a:noFill/>
          <a:ln w="12700" cap="flat" cmpd="sng" algn="ctr">
            <a:gradFill>
              <a:gsLst>
                <a:gs pos="0">
                  <a:srgbClr val="4C5B68"/>
                </a:gs>
                <a:gs pos="100000">
                  <a:srgbClr val="43ABB6"/>
                </a:gs>
              </a:gsLst>
              <a:lin ang="5400000" scaled="1"/>
            </a:gradFill>
            <a:prstDash val="solid"/>
          </a:ln>
          <a:effectLst>
            <a:outerShdw blurRad="114300" dist="38100" dir="360000" algn="tl" rotWithShape="0">
              <a:prstClr val="black">
                <a:alpha val="13000"/>
              </a:prstClr>
            </a:outerShdw>
          </a:effectLst>
        </p:spPr>
        <p:txBody>
          <a:bodyPr tIns="108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0" cap="none" spc="100" normalizeH="0" baseline="0" noProof="0" dirty="0" err="1">
              <a:ln>
                <a:noFill/>
              </a:ln>
              <a:solidFill>
                <a:srgbClr val="4C5B68"/>
              </a:solidFill>
              <a:effectLst/>
              <a:uLnTx/>
              <a:uFillTx/>
              <a:latin typeface="Arial"/>
              <a:ea typeface="+mn-ea"/>
              <a:cs typeface="Arial" panose="020B0604020202020204" pitchFamily="34" charset="0"/>
            </a:endParaRPr>
          </a:p>
        </p:txBody>
      </p:sp>
      <p:sp>
        <p:nvSpPr>
          <p:cNvPr id="2" name="Rectángulo 25">
            <a:extLst>
              <a:ext uri="{FF2B5EF4-FFF2-40B4-BE49-F238E27FC236}">
                <a16:creationId xmlns:a16="http://schemas.microsoft.com/office/drawing/2014/main" id="{CEBF93E9-B23E-3ECF-FBF5-A390D828413B}"/>
              </a:ext>
            </a:extLst>
          </p:cNvPr>
          <p:cNvSpPr/>
          <p:nvPr/>
        </p:nvSpPr>
        <p:spPr>
          <a:xfrm>
            <a:off x="1641757" y="1833798"/>
            <a:ext cx="3542213" cy="1702589"/>
          </a:xfrm>
          <a:prstGeom prst="rect">
            <a:avLst/>
          </a:prstGeom>
          <a:solidFill>
            <a:srgbClr val="43ABB6"/>
          </a:solidFill>
          <a:ln w="9525" cap="flat" cmpd="sng" algn="ctr">
            <a:noFill/>
            <a:prstDash val="solid"/>
          </a:ln>
          <a:effectLst>
            <a:outerShdw blurRad="114300" dist="38100" dir="360000" algn="tl" rotWithShape="0">
              <a:prstClr val="black">
                <a:alpha val="13000"/>
              </a:prstClr>
            </a:outerShdw>
          </a:effectLst>
        </p:spPr>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dirty="0">
                <a:ln>
                  <a:noFill/>
                </a:ln>
                <a:solidFill>
                  <a:schemeClr val="bg1"/>
                </a:solidFill>
                <a:effectLst/>
                <a:uLnTx/>
                <a:uFillTx/>
                <a:cs typeface="Arial" pitchFamily="34" charset="0"/>
              </a:rPr>
              <a:t>NHIỆM VỤ</a:t>
            </a:r>
          </a:p>
          <a:p>
            <a:r>
              <a:rPr lang="vi-VN" sz="1600" dirty="0">
                <a:solidFill>
                  <a:schemeClr val="bg1"/>
                </a:solidFill>
              </a:rPr>
              <a:t>Liên minh toàn cầu về chẩn đoán, tìm cách đảm bảo quyền tiếp cận công bằng với chẩn đoán đáng tin cậy trên khắp thế giới</a:t>
            </a:r>
            <a:endParaRPr lang="en-GB" sz="1400" dirty="0">
              <a:solidFill>
                <a:schemeClr val="bg1"/>
              </a:solidFill>
            </a:endParaRPr>
          </a:p>
        </p:txBody>
      </p:sp>
      <p:sp>
        <p:nvSpPr>
          <p:cNvPr id="3" name="Rectángulo 26">
            <a:extLst>
              <a:ext uri="{FF2B5EF4-FFF2-40B4-BE49-F238E27FC236}">
                <a16:creationId xmlns:a16="http://schemas.microsoft.com/office/drawing/2014/main" id="{1BC978CA-65D2-F794-14C1-9C2067968F73}"/>
              </a:ext>
            </a:extLst>
          </p:cNvPr>
          <p:cNvSpPr/>
          <p:nvPr/>
        </p:nvSpPr>
        <p:spPr>
          <a:xfrm>
            <a:off x="1904272" y="3827361"/>
            <a:ext cx="4283583" cy="2246769"/>
          </a:xfrm>
          <a:prstGeom prst="rect">
            <a:avLst/>
          </a:prstGeom>
        </p:spPr>
        <p:txBody>
          <a:bodyPr wrap="square">
            <a:spAutoFit/>
          </a:bodyPr>
          <a:lstStyle/>
          <a:p>
            <a:br>
              <a:rPr lang="vi-VN" sz="1400" dirty="0">
                <a:solidFill>
                  <a:srgbClr val="790407"/>
                </a:solidFill>
              </a:rPr>
            </a:br>
            <a:r>
              <a:rPr lang="vi-VN" sz="1400" b="1" dirty="0">
                <a:solidFill>
                  <a:srgbClr val="790407"/>
                </a:solidFill>
              </a:rPr>
              <a:t>Chúng tôi kết nối các quốc gia và cộng đồng, các nhà tài trợ, những người ra quyết định, các nhà cung cấp dịch vụ chăm sóc sức khỏe và các nhà phát triển </a:t>
            </a:r>
            <a:r>
              <a:rPr lang="vi-VN" sz="1400" dirty="0">
                <a:solidFill>
                  <a:srgbClr val="790407"/>
                </a:solidFill>
              </a:rPr>
              <a:t>để thúc đẩy đổi mới chẩn đoán và làm cho việc xét nghiệm trở thành một phần không thể thiếu của các hệ thống y tế bền vững, linh hoạt</a:t>
            </a:r>
            <a:endParaRPr lang="vi-VN" sz="1400" dirty="0">
              <a:solidFill>
                <a:srgbClr val="790407"/>
              </a:solidFill>
              <a:effectLst/>
            </a:endParaRPr>
          </a:p>
          <a:p>
            <a:br>
              <a:rPr lang="vi-VN" sz="1400" dirty="0">
                <a:solidFill>
                  <a:srgbClr val="790407"/>
                </a:solidFill>
                <a:effectLst/>
              </a:rPr>
            </a:br>
            <a:endParaRPr kumimoji="0" lang="en-GB" sz="1400" b="0" i="0" u="none" strike="noStrike" kern="1200" cap="none" spc="100" normalizeH="0" baseline="0" noProof="0" dirty="0">
              <a:ln>
                <a:noFill/>
              </a:ln>
              <a:solidFill>
                <a:srgbClr val="790407"/>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85660420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ángulo 43">
            <a:extLst>
              <a:ext uri="{FF2B5EF4-FFF2-40B4-BE49-F238E27FC236}">
                <a16:creationId xmlns:a16="http://schemas.microsoft.com/office/drawing/2014/main" id="{997C573C-1F7E-4D59-904B-A59AC0B78FD3}"/>
              </a:ext>
            </a:extLst>
          </p:cNvPr>
          <p:cNvSpPr/>
          <p:nvPr/>
        </p:nvSpPr>
        <p:spPr>
          <a:xfrm flipV="1">
            <a:off x="4133850" y="2643991"/>
            <a:ext cx="8058150" cy="2013564"/>
          </a:xfrm>
          <a:prstGeom prst="rect">
            <a:avLst/>
          </a:prstGeom>
          <a:solidFill>
            <a:srgbClr val="43ABB6">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52" name="Forma libre 51">
            <a:extLst>
              <a:ext uri="{FF2B5EF4-FFF2-40B4-BE49-F238E27FC236}">
                <a16:creationId xmlns:a16="http://schemas.microsoft.com/office/drawing/2014/main" id="{2C1716DB-E06C-AA4E-AA81-129BAC78A8B1}"/>
              </a:ext>
            </a:extLst>
          </p:cNvPr>
          <p:cNvSpPr/>
          <p:nvPr/>
        </p:nvSpPr>
        <p:spPr>
          <a:xfrm flipV="1">
            <a:off x="5616465" y="-48126"/>
            <a:ext cx="5534526" cy="6013868"/>
          </a:xfrm>
          <a:custGeom>
            <a:avLst/>
            <a:gdLst>
              <a:gd name="connsiteX0" fmla="*/ 2754402 w 5534526"/>
              <a:gd name="connsiteY0" fmla="*/ 6013868 h 6013868"/>
              <a:gd name="connsiteX1" fmla="*/ 5534526 w 5534526"/>
              <a:gd name="connsiteY1" fmla="*/ 6013868 h 6013868"/>
              <a:gd name="connsiteX2" fmla="*/ 5534526 w 5534526"/>
              <a:gd name="connsiteY2" fmla="*/ 0 h 6013868"/>
              <a:gd name="connsiteX3" fmla="*/ 516143 w 5534526"/>
              <a:gd name="connsiteY3" fmla="*/ 0 h 6013868"/>
              <a:gd name="connsiteX4" fmla="*/ 408361 w 5534526"/>
              <a:gd name="connsiteY4" fmla="*/ 203885 h 6013868"/>
              <a:gd name="connsiteX5" fmla="*/ 0 w 5534526"/>
              <a:gd name="connsiteY5" fmla="*/ 2020369 h 6013868"/>
              <a:gd name="connsiteX6" fmla="*/ 2670060 w 5534526"/>
              <a:gd name="connsiteY6" fmla="*/ 5981169 h 6013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34526" h="6013868">
                <a:moveTo>
                  <a:pt x="2754402" y="6013868"/>
                </a:moveTo>
                <a:lnTo>
                  <a:pt x="5534526" y="6013868"/>
                </a:lnTo>
                <a:lnTo>
                  <a:pt x="5534526" y="0"/>
                </a:lnTo>
                <a:lnTo>
                  <a:pt x="516143" y="0"/>
                </a:lnTo>
                <a:lnTo>
                  <a:pt x="408361" y="203885"/>
                </a:lnTo>
                <a:cubicBezTo>
                  <a:pt x="146344" y="755667"/>
                  <a:pt x="0" y="1371214"/>
                  <a:pt x="0" y="2020369"/>
                </a:cubicBezTo>
                <a:cubicBezTo>
                  <a:pt x="0" y="3800910"/>
                  <a:pt x="1100978" y="5328605"/>
                  <a:pt x="2670060" y="5981169"/>
                </a:cubicBezTo>
                <a:close/>
              </a:path>
            </a:pathLst>
          </a:custGeom>
          <a:noFill/>
          <a:ln w="12700">
            <a:gradFill>
              <a:gsLst>
                <a:gs pos="0">
                  <a:schemeClr val="accent6"/>
                </a:gs>
                <a:gs pos="100000">
                  <a:srgbClr val="43ABB6"/>
                </a:gs>
              </a:gsLst>
              <a:lin ang="16200000" scaled="0"/>
            </a:grad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wrap="square" tIns="108000" rtlCol="0" anchor="t">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100" normalizeH="0" baseline="0" noProof="0" dirty="0" err="1">
              <a:ln>
                <a:noFill/>
              </a:ln>
              <a:solidFill>
                <a:srgbClr val="4C5B68"/>
              </a:solidFill>
              <a:effectLst/>
              <a:uLnTx/>
              <a:uFillTx/>
              <a:latin typeface="Arial" panose="020B0604020202020204" pitchFamily="34" charset="0"/>
              <a:ea typeface="+mn-ea"/>
              <a:cs typeface="Arial" panose="020B0604020202020204" pitchFamily="34" charset="0"/>
            </a:endParaRPr>
          </a:p>
        </p:txBody>
      </p:sp>
      <p:pic>
        <p:nvPicPr>
          <p:cNvPr id="50" name="Imagen 49">
            <a:extLst>
              <a:ext uri="{FF2B5EF4-FFF2-40B4-BE49-F238E27FC236}">
                <a16:creationId xmlns:a16="http://schemas.microsoft.com/office/drawing/2014/main" id="{5C9D263A-1EDA-514F-AA18-D1BC85C0D0C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746973" y="0"/>
            <a:ext cx="6445029" cy="6857998"/>
          </a:xfrm>
          <a:custGeom>
            <a:avLst/>
            <a:gdLst>
              <a:gd name="connsiteX0" fmla="*/ 2689453 w 6445029"/>
              <a:gd name="connsiteY0" fmla="*/ 0 h 6857998"/>
              <a:gd name="connsiteX1" fmla="*/ 3730461 w 6445029"/>
              <a:gd name="connsiteY1" fmla="*/ 0 h 6857998"/>
              <a:gd name="connsiteX2" fmla="*/ 5404021 w 6445029"/>
              <a:gd name="connsiteY2" fmla="*/ 0 h 6857998"/>
              <a:gd name="connsiteX3" fmla="*/ 6445029 w 6445029"/>
              <a:gd name="connsiteY3" fmla="*/ 0 h 6857998"/>
              <a:gd name="connsiteX4" fmla="*/ 6445029 w 6445029"/>
              <a:gd name="connsiteY4" fmla="*/ 6857998 h 6857998"/>
              <a:gd name="connsiteX5" fmla="*/ 6445027 w 6445029"/>
              <a:gd name="connsiteY5" fmla="*/ 6857998 h 6857998"/>
              <a:gd name="connsiteX6" fmla="*/ 6445027 w 6445029"/>
              <a:gd name="connsiteY6" fmla="*/ 6079852 h 6857998"/>
              <a:gd name="connsiteX7" fmla="*/ 560055 w 6445029"/>
              <a:gd name="connsiteY7" fmla="*/ 6079852 h 6857998"/>
              <a:gd name="connsiteX8" fmla="*/ 398731 w 6445029"/>
              <a:gd name="connsiteY8" fmla="*/ 5769496 h 6857998"/>
              <a:gd name="connsiteX9" fmla="*/ 0 w 6445029"/>
              <a:gd name="connsiteY9" fmla="*/ 3965670 h 6857998"/>
              <a:gd name="connsiteX10" fmla="*/ 2607099 w 6445029"/>
              <a:gd name="connsiteY10" fmla="*/ 32471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45029" h="6857998">
                <a:moveTo>
                  <a:pt x="2689453" y="0"/>
                </a:moveTo>
                <a:lnTo>
                  <a:pt x="3730461" y="0"/>
                </a:lnTo>
                <a:lnTo>
                  <a:pt x="5404021" y="0"/>
                </a:lnTo>
                <a:lnTo>
                  <a:pt x="6445029" y="0"/>
                </a:lnTo>
                <a:lnTo>
                  <a:pt x="6445029" y="6857998"/>
                </a:lnTo>
                <a:lnTo>
                  <a:pt x="6445027" y="6857998"/>
                </a:lnTo>
                <a:lnTo>
                  <a:pt x="6445027" y="6079852"/>
                </a:lnTo>
                <a:lnTo>
                  <a:pt x="560055" y="6079852"/>
                </a:lnTo>
                <a:lnTo>
                  <a:pt x="398731" y="5769496"/>
                </a:lnTo>
                <a:cubicBezTo>
                  <a:pt x="142893" y="5221559"/>
                  <a:pt x="0" y="4610301"/>
                  <a:pt x="0" y="3965670"/>
                </a:cubicBezTo>
                <a:cubicBezTo>
                  <a:pt x="0" y="2197537"/>
                  <a:pt x="1075017" y="680487"/>
                  <a:pt x="2607099" y="32471"/>
                </a:cubicBezTo>
                <a:close/>
              </a:path>
            </a:pathLst>
          </a:custGeom>
        </p:spPr>
      </p:pic>
      <p:sp>
        <p:nvSpPr>
          <p:cNvPr id="2" name="Marcador de texto 1">
            <a:extLst>
              <a:ext uri="{FF2B5EF4-FFF2-40B4-BE49-F238E27FC236}">
                <a16:creationId xmlns:a16="http://schemas.microsoft.com/office/drawing/2014/main" id="{1A0FCF1F-1D40-4480-9275-264328DAEFEA}"/>
              </a:ext>
            </a:extLst>
          </p:cNvPr>
          <p:cNvSpPr>
            <a:spLocks noGrp="1"/>
          </p:cNvSpPr>
          <p:nvPr>
            <p:ph type="body" sz="quarter" idx="10"/>
          </p:nvPr>
        </p:nvSpPr>
        <p:spPr>
          <a:xfrm>
            <a:off x="133271" y="1252020"/>
            <a:ext cx="6039799" cy="700297"/>
          </a:xfrm>
        </p:spPr>
        <p:txBody>
          <a:bodyPr/>
          <a:lstStyle/>
          <a:p>
            <a:r>
              <a:rPr lang="vi-VN" sz="1800" b="1" dirty="0">
                <a:latin typeface="Noto Sans Hanunoo" panose="020B0502040504020204" pitchFamily="34" charset="0"/>
              </a:rPr>
              <a:t>tiếp cận bình đẳng với chẩn đoán đáng tin cậy trên toàn thế giới</a:t>
            </a:r>
          </a:p>
        </p:txBody>
      </p:sp>
      <p:sp>
        <p:nvSpPr>
          <p:cNvPr id="3" name="Title 2">
            <a:extLst>
              <a:ext uri="{FF2B5EF4-FFF2-40B4-BE49-F238E27FC236}">
                <a16:creationId xmlns:a16="http://schemas.microsoft.com/office/drawing/2014/main" id="{5948FF85-0ABF-4427-B4CA-5662902C6737}"/>
              </a:ext>
            </a:extLst>
          </p:cNvPr>
          <p:cNvSpPr>
            <a:spLocks noGrp="1"/>
          </p:cNvSpPr>
          <p:nvPr>
            <p:ph type="title"/>
          </p:nvPr>
        </p:nvSpPr>
        <p:spPr>
          <a:xfrm>
            <a:off x="422254" y="690781"/>
            <a:ext cx="9360000" cy="308122"/>
          </a:xfrm>
        </p:spPr>
        <p:txBody>
          <a:bodyPr/>
          <a:lstStyle/>
          <a:p>
            <a:r>
              <a:rPr lang="vi-VN" sz="1400" b="1" dirty="0">
                <a:solidFill>
                  <a:srgbClr val="43ABB6"/>
                </a:solidFill>
                <a:latin typeface="+mn-lt"/>
                <a:ea typeface="+mn-ea"/>
                <a:cs typeface="Arial" pitchFamily="34" charset="0"/>
              </a:rPr>
              <a:t>FIND tìm cách đảm bảo</a:t>
            </a:r>
          </a:p>
        </p:txBody>
      </p:sp>
      <p:sp>
        <p:nvSpPr>
          <p:cNvPr id="5" name="Rectángulo redondeado 40">
            <a:extLst>
              <a:ext uri="{FF2B5EF4-FFF2-40B4-BE49-F238E27FC236}">
                <a16:creationId xmlns:a16="http://schemas.microsoft.com/office/drawing/2014/main" id="{8EB61720-7BD6-459C-ADB6-354161FCAC48}"/>
              </a:ext>
            </a:extLst>
          </p:cNvPr>
          <p:cNvSpPr/>
          <p:nvPr/>
        </p:nvSpPr>
        <p:spPr>
          <a:xfrm>
            <a:off x="672472" y="2340353"/>
            <a:ext cx="4051379" cy="2743201"/>
          </a:xfrm>
          <a:prstGeom prst="roundRect">
            <a:avLst/>
          </a:prstGeom>
          <a:noFill/>
          <a:ln w="12700" cap="flat" cmpd="sng" algn="ctr">
            <a:gradFill>
              <a:gsLst>
                <a:gs pos="0">
                  <a:srgbClr val="5A2259"/>
                </a:gs>
                <a:gs pos="100000">
                  <a:srgbClr val="43ABB6"/>
                </a:gs>
              </a:gsLst>
              <a:lin ang="0" scaled="0"/>
            </a:gradFill>
            <a:prstDash val="solid"/>
          </a:ln>
          <a:effectLst>
            <a:outerShdw blurRad="114300" dist="38100" dir="360000" algn="tl" rotWithShape="0">
              <a:prstClr val="black">
                <a:alpha val="13000"/>
              </a:prstClr>
            </a:outerShdw>
          </a:effectLst>
        </p:spPr>
        <p:txBody>
          <a:bodyPr tIns="108000" rtlCol="0" anchor="t"/>
          <a:lstStyle/>
          <a:p>
            <a:pPr marL="0" marR="0" lvl="0" indent="0" algn="ctr" defTabSz="914400" rtl="0" eaLnBrk="1" fontAlgn="auto" latinLnBrk="0" hangingPunct="1">
              <a:lnSpc>
                <a:spcPts val="1600"/>
              </a:lnSpc>
              <a:spcBef>
                <a:spcPts val="0"/>
              </a:spcBef>
              <a:spcAft>
                <a:spcPts val="0"/>
              </a:spcAft>
              <a:buClrTx/>
              <a:buSzTx/>
              <a:buFontTx/>
              <a:buNone/>
              <a:tabLst/>
              <a:defRPr/>
            </a:pPr>
            <a:endParaRPr kumimoji="0" lang="en-US" sz="1200" b="0" i="0" u="none" strike="noStrike" kern="0" cap="none" spc="100" normalizeH="0" baseline="0" noProof="0" dirty="0">
              <a:ln>
                <a:noFill/>
              </a:ln>
              <a:solidFill>
                <a:srgbClr val="4C5B68"/>
              </a:solidFill>
              <a:effectLst/>
              <a:uLnTx/>
              <a:uFillTx/>
              <a:latin typeface="Arial"/>
              <a:ea typeface="+mn-ea"/>
              <a:cs typeface="Arial" panose="020B0604020202020204" pitchFamily="34" charset="0"/>
            </a:endParaRPr>
          </a:p>
        </p:txBody>
      </p:sp>
      <p:sp>
        <p:nvSpPr>
          <p:cNvPr id="6" name="Rectángulo redondeado 41">
            <a:extLst>
              <a:ext uri="{FF2B5EF4-FFF2-40B4-BE49-F238E27FC236}">
                <a16:creationId xmlns:a16="http://schemas.microsoft.com/office/drawing/2014/main" id="{B001ED79-E2A5-40CD-B9FF-5DE95CDDB65D}"/>
              </a:ext>
            </a:extLst>
          </p:cNvPr>
          <p:cNvSpPr/>
          <p:nvPr/>
        </p:nvSpPr>
        <p:spPr>
          <a:xfrm>
            <a:off x="773603" y="1883664"/>
            <a:ext cx="4587760" cy="2783085"/>
          </a:xfrm>
          <a:prstGeom prst="roundRect">
            <a:avLst/>
          </a:prstGeom>
          <a:solidFill>
            <a:srgbClr val="FFFFFF"/>
          </a:solidFill>
          <a:ln w="9525" cap="flat" cmpd="sng" algn="ctr">
            <a:noFill/>
            <a:prstDash val="solid"/>
          </a:ln>
          <a:effectLst/>
        </p:spPr>
        <p:txBody>
          <a:bodyPr lIns="36000" tIns="108000" rIns="36000" rtlCol="0" anchor="t"/>
          <a:lstStyle/>
          <a:p>
            <a:pPr marL="0" marR="0" lvl="0" indent="-382587" algn="l" defTabSz="914400" rtl="0" eaLnBrk="1" fontAlgn="auto" latinLnBrk="0" hangingPunct="1">
              <a:lnSpc>
                <a:spcPct val="100000"/>
              </a:lnSpc>
              <a:spcBef>
                <a:spcPts val="0"/>
              </a:spcBef>
              <a:spcAft>
                <a:spcPts val="1200"/>
              </a:spcAft>
              <a:buClr>
                <a:srgbClr val="43ABB6"/>
              </a:buClr>
              <a:buSzPct val="100000"/>
              <a:buFontTx/>
              <a:buNone/>
              <a:tabLst/>
              <a:defRPr/>
            </a:pPr>
            <a:r>
              <a:rPr kumimoji="0" lang="vi-VN" sz="1400" i="0" u="none" strike="noStrike" kern="0" cap="none" spc="100" normalizeH="0" baseline="0" noProof="0" dirty="0">
                <a:ln>
                  <a:noFill/>
                </a:ln>
                <a:solidFill>
                  <a:schemeClr val="tx1">
                    <a:lumMod val="95000"/>
                    <a:lumOff val="5000"/>
                  </a:schemeClr>
                </a:solidFill>
                <a:effectLst/>
                <a:uLnTx/>
                <a:uFillTx/>
                <a:latin typeface="Arial"/>
                <a:ea typeface="+mn-ea"/>
                <a:cs typeface="Arial" panose="020B0604020202020204" pitchFamily="34" charset="0"/>
              </a:rPr>
              <a:t>Được thành lập vào năm 2003 với tư cách là đối tác phát triển và phân phối sản phẩm</a:t>
            </a:r>
          </a:p>
          <a:p>
            <a:pPr marL="0" marR="0" lvl="0" indent="-382587" algn="l" defTabSz="914400" rtl="0" eaLnBrk="1" fontAlgn="auto" latinLnBrk="0" hangingPunct="1">
              <a:lnSpc>
                <a:spcPct val="100000"/>
              </a:lnSpc>
              <a:spcBef>
                <a:spcPts val="0"/>
              </a:spcBef>
              <a:spcAft>
                <a:spcPts val="1200"/>
              </a:spcAft>
              <a:buClr>
                <a:srgbClr val="43ABB6"/>
              </a:buClr>
              <a:buSzPct val="100000"/>
              <a:buFontTx/>
              <a:buNone/>
              <a:tabLst/>
              <a:defRPr/>
            </a:pPr>
            <a:r>
              <a:rPr kumimoji="0" lang="vi-VN" sz="1400" i="0" u="none" strike="noStrike" kern="0" cap="none" spc="100" normalizeH="0" baseline="0" noProof="0" dirty="0">
                <a:ln>
                  <a:noFill/>
                </a:ln>
                <a:solidFill>
                  <a:schemeClr val="tx1">
                    <a:lumMod val="95000"/>
                    <a:lumOff val="5000"/>
                  </a:schemeClr>
                </a:solidFill>
                <a:effectLst/>
                <a:uLnTx/>
                <a:uFillTx/>
                <a:latin typeface="Arial"/>
                <a:ea typeface="+mn-ea"/>
                <a:cs typeface="Arial" panose="020B0604020202020204" pitchFamily="34" charset="0"/>
              </a:rPr>
              <a:t>Người đồng triệu tập Trụ cột Tăng tốc Tiếp cận Công cụ Chẩn đoán COVID-19 (ACT)</a:t>
            </a:r>
          </a:p>
          <a:p>
            <a:pPr marL="0" marR="0" lvl="0" indent="-382587" algn="l" defTabSz="914400" rtl="0" eaLnBrk="1" fontAlgn="auto" latinLnBrk="0" hangingPunct="1">
              <a:lnSpc>
                <a:spcPct val="100000"/>
              </a:lnSpc>
              <a:spcBef>
                <a:spcPts val="0"/>
              </a:spcBef>
              <a:spcAft>
                <a:spcPts val="1200"/>
              </a:spcAft>
              <a:buClr>
                <a:srgbClr val="43ABB6"/>
              </a:buClr>
              <a:buSzPct val="100000"/>
              <a:buFontTx/>
              <a:buNone/>
              <a:tabLst/>
              <a:defRPr/>
            </a:pPr>
            <a:r>
              <a:rPr kumimoji="0" lang="vi-VN" sz="1400" i="0" u="none" strike="noStrike" kern="0" cap="none" spc="100" normalizeH="0" baseline="0" noProof="0" dirty="0">
                <a:ln>
                  <a:noFill/>
                </a:ln>
                <a:solidFill>
                  <a:schemeClr val="tx1">
                    <a:lumMod val="95000"/>
                    <a:lumOff val="5000"/>
                  </a:schemeClr>
                </a:solidFill>
                <a:effectLst/>
                <a:uLnTx/>
                <a:uFillTx/>
                <a:latin typeface="Arial"/>
                <a:ea typeface="+mn-ea"/>
                <a:cs typeface="Arial" panose="020B0604020202020204" pitchFamily="34" charset="0"/>
              </a:rPr>
              <a:t>Trung tâm hợp tác của WHO về đánh giá công nghệ chẩn đoán và tăng cường phòng xét nghiệm</a:t>
            </a:r>
          </a:p>
          <a:p>
            <a:pPr marL="0" marR="0" lvl="0" indent="-382587" algn="l" defTabSz="914400" rtl="0" eaLnBrk="1" fontAlgn="auto" latinLnBrk="0" hangingPunct="1">
              <a:lnSpc>
                <a:spcPct val="100000"/>
              </a:lnSpc>
              <a:spcBef>
                <a:spcPts val="0"/>
              </a:spcBef>
              <a:spcAft>
                <a:spcPts val="1200"/>
              </a:spcAft>
              <a:buClr>
                <a:srgbClr val="43ABB6"/>
              </a:buClr>
              <a:buSzPct val="100000"/>
              <a:buFontTx/>
              <a:buNone/>
              <a:tabLst/>
              <a:defRPr/>
            </a:pPr>
            <a:r>
              <a:rPr kumimoji="0" lang="vi-VN" sz="1400" i="0" u="none" strike="noStrike" kern="0" cap="none" spc="100" normalizeH="0" baseline="0" noProof="0" dirty="0">
                <a:ln>
                  <a:noFill/>
                </a:ln>
                <a:solidFill>
                  <a:schemeClr val="tx1">
                    <a:lumMod val="95000"/>
                    <a:lumOff val="5000"/>
                  </a:schemeClr>
                </a:solidFill>
                <a:effectLst/>
                <a:uLnTx/>
                <a:uFillTx/>
                <a:latin typeface="Arial"/>
                <a:ea typeface="+mn-ea"/>
                <a:cs typeface="Arial" panose="020B0604020202020204" pitchFamily="34" charset="0"/>
              </a:rPr>
              <a:t>Thành viên nhóm chuyên gia tư vấn chiến lược XN chẩn đoán (SAGE-IVD) của WHO</a:t>
            </a:r>
            <a:endParaRPr kumimoji="0" lang="en-GB" sz="1400" i="0" u="none" strike="noStrike" kern="0" cap="none" spc="100" normalizeH="0" baseline="0" noProof="0" dirty="0">
              <a:ln>
                <a:noFill/>
              </a:ln>
              <a:solidFill>
                <a:schemeClr val="tx1">
                  <a:lumMod val="95000"/>
                  <a:lumOff val="5000"/>
                </a:schemeClr>
              </a:solidFill>
              <a:effectLst/>
              <a:uLnTx/>
              <a:uFillTx/>
              <a:latin typeface="Arial"/>
              <a:ea typeface="+mn-ea"/>
              <a:cs typeface="Arial" panose="020B0604020202020204" pitchFamily="34" charset="0"/>
            </a:endParaRPr>
          </a:p>
        </p:txBody>
      </p:sp>
      <p:sp>
        <p:nvSpPr>
          <p:cNvPr id="29" name="Forma libre 14">
            <a:extLst>
              <a:ext uri="{FF2B5EF4-FFF2-40B4-BE49-F238E27FC236}">
                <a16:creationId xmlns:a16="http://schemas.microsoft.com/office/drawing/2014/main" id="{6EFF5F0F-3663-4E0C-91F8-00ABCEF10567}"/>
              </a:ext>
            </a:extLst>
          </p:cNvPr>
          <p:cNvSpPr/>
          <p:nvPr/>
        </p:nvSpPr>
        <p:spPr>
          <a:xfrm flipH="1">
            <a:off x="9785683" y="0"/>
            <a:ext cx="2406316" cy="1105002"/>
          </a:xfrm>
          <a:custGeom>
            <a:avLst/>
            <a:gdLst>
              <a:gd name="connsiteX0" fmla="*/ 0 w 5172420"/>
              <a:gd name="connsiteY0" fmla="*/ 0 h 2375222"/>
              <a:gd name="connsiteX1" fmla="*/ 5172420 w 5172420"/>
              <a:gd name="connsiteY1" fmla="*/ 0 h 2375222"/>
              <a:gd name="connsiteX2" fmla="*/ 5124834 w 5172420"/>
              <a:gd name="connsiteY2" fmla="*/ 185066 h 2375222"/>
              <a:gd name="connsiteX3" fmla="*/ 2147891 w 5172420"/>
              <a:gd name="connsiteY3" fmla="*/ 2375222 h 2375222"/>
              <a:gd name="connsiteX4" fmla="*/ 165138 w 5172420"/>
              <a:gd name="connsiteY4" fmla="*/ 1663433 h 2375222"/>
              <a:gd name="connsiteX5" fmla="*/ 0 w 5172420"/>
              <a:gd name="connsiteY5" fmla="*/ 1513345 h 237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172420" h="2375222">
                <a:moveTo>
                  <a:pt x="0" y="0"/>
                </a:moveTo>
                <a:lnTo>
                  <a:pt x="5172420" y="0"/>
                </a:lnTo>
                <a:lnTo>
                  <a:pt x="5124834" y="185066"/>
                </a:lnTo>
                <a:cubicBezTo>
                  <a:pt x="4730176" y="1453932"/>
                  <a:pt x="3546623" y="2375222"/>
                  <a:pt x="2147891" y="2375222"/>
                </a:cubicBezTo>
                <a:cubicBezTo>
                  <a:pt x="1394728" y="2375222"/>
                  <a:pt x="703954" y="2108102"/>
                  <a:pt x="165138" y="1663433"/>
                </a:cubicBezTo>
                <a:lnTo>
                  <a:pt x="0" y="1513345"/>
                </a:lnTo>
                <a:close/>
              </a:path>
            </a:pathLst>
          </a:custGeom>
          <a:solidFill>
            <a:schemeClr val="bg1"/>
          </a:solidFill>
          <a:ln w="9525">
            <a:noFill/>
          </a:ln>
          <a:effectLst>
            <a:outerShdw blurRad="114300" algn="ctr" rotWithShape="0">
              <a:schemeClr val="tx1">
                <a:lumMod val="85000"/>
                <a:lumOff val="15000"/>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endParaRPr>
          </a:p>
        </p:txBody>
      </p:sp>
      <p:pic>
        <p:nvPicPr>
          <p:cNvPr id="31" name="Picture 2">
            <a:extLst>
              <a:ext uri="{FF2B5EF4-FFF2-40B4-BE49-F238E27FC236}">
                <a16:creationId xmlns:a16="http://schemas.microsoft.com/office/drawing/2014/main" id="{68C5B57F-AAE6-44EC-955B-E86BFA5864D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10234863" y="-19547"/>
            <a:ext cx="1796716" cy="898358"/>
          </a:xfrm>
          <a:prstGeom prst="rect">
            <a:avLst/>
          </a:prstGeom>
        </p:spPr>
      </p:pic>
      <p:sp>
        <p:nvSpPr>
          <p:cNvPr id="48" name="Rectángulo 47">
            <a:extLst>
              <a:ext uri="{FF2B5EF4-FFF2-40B4-BE49-F238E27FC236}">
                <a16:creationId xmlns:a16="http://schemas.microsoft.com/office/drawing/2014/main" id="{852CC56A-3266-4E52-A43E-13D7D996FAB9}"/>
              </a:ext>
            </a:extLst>
          </p:cNvPr>
          <p:cNvSpPr/>
          <p:nvPr/>
        </p:nvSpPr>
        <p:spPr>
          <a:xfrm flipV="1">
            <a:off x="-1" y="2643991"/>
            <a:ext cx="675177" cy="2013564"/>
          </a:xfrm>
          <a:prstGeom prst="rect">
            <a:avLst/>
          </a:prstGeom>
          <a:solidFill>
            <a:srgbClr val="8B518B">
              <a:alpha val="10000"/>
            </a:srgbClr>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white"/>
              </a:solidFill>
              <a:effectLst/>
              <a:uLnTx/>
              <a:uFillTx/>
              <a:latin typeface="Franklin Gothic Book"/>
              <a:ea typeface="+mn-ea"/>
              <a:cs typeface="+mn-cs"/>
            </a:endParaRPr>
          </a:p>
        </p:txBody>
      </p:sp>
      <p:sp>
        <p:nvSpPr>
          <p:cNvPr id="56" name="Rectángulo redondeado 97">
            <a:extLst>
              <a:ext uri="{FF2B5EF4-FFF2-40B4-BE49-F238E27FC236}">
                <a16:creationId xmlns:a16="http://schemas.microsoft.com/office/drawing/2014/main" id="{E760BF75-8367-4C29-95FB-BCA9FFB7FFFB}"/>
              </a:ext>
            </a:extLst>
          </p:cNvPr>
          <p:cNvSpPr/>
          <p:nvPr/>
        </p:nvSpPr>
        <p:spPr>
          <a:xfrm>
            <a:off x="552450" y="5427417"/>
            <a:ext cx="10972800" cy="1082483"/>
          </a:xfrm>
          <a:prstGeom prst="roundRect">
            <a:avLst>
              <a:gd name="adj" fmla="val 43804"/>
            </a:avLst>
          </a:prstGeom>
          <a:noFill/>
          <a:ln w="12700">
            <a:solidFill>
              <a:srgbClr val="43ABB6"/>
            </a:solidFill>
          </a:ln>
          <a:effectLst/>
        </p:spPr>
        <p:style>
          <a:lnRef idx="1">
            <a:schemeClr val="accent1"/>
          </a:lnRef>
          <a:fillRef idx="3">
            <a:schemeClr val="accent1"/>
          </a:fillRef>
          <a:effectRef idx="2">
            <a:schemeClr val="accent1"/>
          </a:effectRef>
          <a:fontRef idx="minor">
            <a:schemeClr val="lt1"/>
          </a:fontRef>
        </p:style>
        <p:txBody>
          <a:bodyPr tIns="108000" rtlCol="0" anchor="t"/>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en-GB" sz="1200" b="0" i="0" u="none" strike="noStrike" kern="1200" cap="none" spc="100" normalizeH="0" baseline="0" noProof="0" dirty="0">
              <a:ln>
                <a:noFill/>
              </a:ln>
              <a:solidFill>
                <a:srgbClr val="4C5B68"/>
              </a:solidFill>
              <a:effectLst/>
              <a:uLnTx/>
              <a:uFillTx/>
              <a:latin typeface="Arial" panose="020B0604020202020204" pitchFamily="34" charset="0"/>
              <a:ea typeface="+mn-ea"/>
              <a:cs typeface="Arial" panose="020B0604020202020204" pitchFamily="34" charset="0"/>
            </a:endParaRPr>
          </a:p>
        </p:txBody>
      </p:sp>
      <p:sp>
        <p:nvSpPr>
          <p:cNvPr id="57" name="Rectángulo redondeado 97">
            <a:extLst>
              <a:ext uri="{FF2B5EF4-FFF2-40B4-BE49-F238E27FC236}">
                <a16:creationId xmlns:a16="http://schemas.microsoft.com/office/drawing/2014/main" id="{43188A12-EBAD-4F4A-84CC-35192FCA85F2}"/>
              </a:ext>
            </a:extLst>
          </p:cNvPr>
          <p:cNvSpPr/>
          <p:nvPr/>
        </p:nvSpPr>
        <p:spPr>
          <a:xfrm>
            <a:off x="626700" y="5518906"/>
            <a:ext cx="10972800" cy="1082483"/>
          </a:xfrm>
          <a:prstGeom prst="roundRect">
            <a:avLst>
              <a:gd name="adj" fmla="val 47754"/>
            </a:avLst>
          </a:prstGeom>
          <a:solidFill>
            <a:schemeClr val="bg1"/>
          </a:solidFill>
          <a:ln w="12700">
            <a:noFill/>
          </a:ln>
          <a:effectLst>
            <a:outerShdw blurRad="114300" dist="38100" dir="360000" algn="tl" rotWithShape="0">
              <a:prstClr val="black">
                <a:alpha val="13000"/>
              </a:prstClr>
            </a:outerShdw>
          </a:effectLst>
        </p:spPr>
        <p:style>
          <a:lnRef idx="1">
            <a:schemeClr val="accent1"/>
          </a:lnRef>
          <a:fillRef idx="3">
            <a:schemeClr val="accent1"/>
          </a:fillRef>
          <a:effectRef idx="2">
            <a:schemeClr val="accent1"/>
          </a:effectRef>
          <a:fontRef idx="minor">
            <a:schemeClr val="lt1"/>
          </a:fontRef>
        </p:style>
        <p:txBody>
          <a:bodyPr tIns="108000" rtlCol="0" anchor="t"/>
          <a:lstStyle/>
          <a:p>
            <a:pPr marL="0" marR="0" lvl="0" indent="0" algn="ctr" defTabSz="457200" rtl="0" eaLnBrk="1" fontAlgn="auto" latinLnBrk="0" hangingPunct="1">
              <a:lnSpc>
                <a:spcPts val="1600"/>
              </a:lnSpc>
              <a:spcBef>
                <a:spcPts val="0"/>
              </a:spcBef>
              <a:spcAft>
                <a:spcPts val="0"/>
              </a:spcAft>
              <a:buClrTx/>
              <a:buSzTx/>
              <a:buFontTx/>
              <a:buNone/>
              <a:tabLst/>
              <a:defRPr/>
            </a:pPr>
            <a:endParaRPr kumimoji="0" lang="en-GB" sz="1200" b="0" i="0" u="none" strike="noStrike" kern="1200" cap="none" spc="100" normalizeH="0" baseline="0" noProof="0" dirty="0">
              <a:ln>
                <a:noFill/>
              </a:ln>
              <a:solidFill>
                <a:srgbClr val="4C5B68"/>
              </a:solidFill>
              <a:effectLst/>
              <a:uLnTx/>
              <a:uFillTx/>
              <a:ea typeface="+mn-ea"/>
              <a:cs typeface="Arial" panose="020B0604020202020204" pitchFamily="34" charset="0"/>
            </a:endParaRPr>
          </a:p>
        </p:txBody>
      </p:sp>
      <p:sp>
        <p:nvSpPr>
          <p:cNvPr id="58" name="TextBox 10">
            <a:extLst>
              <a:ext uri="{FF2B5EF4-FFF2-40B4-BE49-F238E27FC236}">
                <a16:creationId xmlns:a16="http://schemas.microsoft.com/office/drawing/2014/main" id="{24C775B8-B678-4C46-9F34-8C57EA487377}"/>
              </a:ext>
            </a:extLst>
          </p:cNvPr>
          <p:cNvSpPr txBox="1"/>
          <p:nvPr/>
        </p:nvSpPr>
        <p:spPr>
          <a:xfrm>
            <a:off x="1275969" y="5608405"/>
            <a:ext cx="3079269" cy="1092607"/>
          </a:xfrm>
          <a:prstGeom prst="rect">
            <a:avLst/>
          </a:prstGeom>
          <a:noFill/>
        </p:spPr>
        <p:txBody>
          <a:bodyPr wrap="square">
            <a:spAutoFit/>
          </a:bodyPr>
          <a:lstStyle/>
          <a:p>
            <a:pPr marL="0" marR="0" lvl="1" indent="0" algn="l" defTabSz="457200" rtl="0" eaLnBrk="1" fontAlgn="auto" latinLnBrk="0" hangingPunct="1">
              <a:lnSpc>
                <a:spcPct val="100000"/>
              </a:lnSpc>
              <a:spcBef>
                <a:spcPts val="0"/>
              </a:spcBef>
              <a:spcAft>
                <a:spcPts val="600"/>
              </a:spcAft>
              <a:buClr>
                <a:srgbClr val="FFFFFF"/>
              </a:buClr>
              <a:buSzPct val="100000"/>
              <a:buFontTx/>
              <a:buNone/>
              <a:tabLst/>
              <a:defRPr/>
            </a:pPr>
            <a:r>
              <a:rPr kumimoji="0" lang="vi-VN" b="1" i="0" u="none" strike="noStrike" kern="1200" cap="none" spc="0" normalizeH="0" baseline="0" noProof="0" dirty="0">
                <a:ln>
                  <a:noFill/>
                </a:ln>
                <a:solidFill>
                  <a:srgbClr val="43ABB6"/>
                </a:solidFill>
                <a:effectLst/>
                <a:uLnTx/>
                <a:uFillTx/>
                <a:ea typeface="+mn-ea"/>
                <a:cs typeface="Arial" pitchFamily="34" charset="0"/>
              </a:rPr>
              <a:t>Cứu sống 1 triệu người</a:t>
            </a:r>
            <a:br>
              <a:rPr kumimoji="0" lang="vi-VN" sz="2000" b="0" i="0" u="none" strike="noStrike" kern="1200" cap="none" spc="0" normalizeH="0" baseline="0" noProof="0" dirty="0">
                <a:ln>
                  <a:noFill/>
                </a:ln>
                <a:solidFill>
                  <a:srgbClr val="4C5B68"/>
                </a:solidFill>
                <a:effectLst/>
                <a:uLnTx/>
                <a:uFillTx/>
                <a:ea typeface="+mn-ea"/>
                <a:cs typeface="Arial" pitchFamily="34" charset="0"/>
              </a:rPr>
            </a:br>
            <a:r>
              <a:rPr kumimoji="0" lang="vi-VN" sz="1400" b="0" i="0" u="none" strike="noStrike" kern="1200" cap="none" spc="100" normalizeH="0" baseline="0" noProof="0" dirty="0">
                <a:ln>
                  <a:noFill/>
                </a:ln>
                <a:solidFill>
                  <a:srgbClr val="43ABB6"/>
                </a:solidFill>
                <a:effectLst/>
                <a:uLnTx/>
                <a:uFillTx/>
                <a:ea typeface="+mn-ea"/>
                <a:cs typeface="Arial" panose="020B0604020202020204" pitchFamily="34" charset="0"/>
              </a:rPr>
              <a:t>Thông qua chẩn đoán chất lượng, dễ tiếp cận</a:t>
            </a:r>
            <a:endParaRPr kumimoji="0" lang="vi-VN" sz="1200" b="0" i="0" u="none" strike="noStrike" kern="1200" cap="none" spc="100" normalizeH="0" baseline="0" noProof="0" dirty="0">
              <a:ln>
                <a:noFill/>
              </a:ln>
              <a:solidFill>
                <a:srgbClr val="43ABB6"/>
              </a:solidFill>
              <a:effectLst/>
              <a:uLnTx/>
              <a:uFillTx/>
              <a:ea typeface="+mn-ea"/>
              <a:cs typeface="Arial" panose="020B0604020202020204" pitchFamily="34" charset="0"/>
            </a:endParaRPr>
          </a:p>
          <a:p>
            <a:pPr marL="0" marR="0" lvl="1" indent="0" algn="l" defTabSz="457200" rtl="0" eaLnBrk="1" fontAlgn="auto" latinLnBrk="0" hangingPunct="1">
              <a:lnSpc>
                <a:spcPct val="100000"/>
              </a:lnSpc>
              <a:spcBef>
                <a:spcPts val="0"/>
              </a:spcBef>
              <a:spcAft>
                <a:spcPts val="600"/>
              </a:spcAft>
              <a:buClr>
                <a:srgbClr val="FFFFFF"/>
              </a:buClr>
              <a:buSzPct val="100000"/>
              <a:buFontTx/>
              <a:buNone/>
              <a:tabLst/>
              <a:defRPr/>
            </a:pPr>
            <a:endParaRPr kumimoji="0" lang="vi-VN" sz="1200" b="0" i="0" u="none" strike="noStrike" kern="1200" cap="none" spc="100" normalizeH="0" baseline="0" noProof="0" dirty="0">
              <a:ln>
                <a:noFill/>
              </a:ln>
              <a:solidFill>
                <a:srgbClr val="4C5B68"/>
              </a:solidFill>
              <a:effectLst/>
              <a:uLnTx/>
              <a:uFillTx/>
              <a:ea typeface="+mn-ea"/>
              <a:cs typeface="Arial" panose="020B0604020202020204" pitchFamily="34" charset="0"/>
            </a:endParaRPr>
          </a:p>
        </p:txBody>
      </p:sp>
      <p:sp>
        <p:nvSpPr>
          <p:cNvPr id="59" name="TextBox 10">
            <a:extLst>
              <a:ext uri="{FF2B5EF4-FFF2-40B4-BE49-F238E27FC236}">
                <a16:creationId xmlns:a16="http://schemas.microsoft.com/office/drawing/2014/main" id="{6ECF0F26-9369-40A3-B236-DD1BAA00B538}"/>
              </a:ext>
            </a:extLst>
          </p:cNvPr>
          <p:cNvSpPr txBox="1"/>
          <p:nvPr/>
        </p:nvSpPr>
        <p:spPr>
          <a:xfrm>
            <a:off x="4907479" y="5658509"/>
            <a:ext cx="2929285" cy="1015663"/>
          </a:xfrm>
          <a:prstGeom prst="rect">
            <a:avLst/>
          </a:prstGeom>
          <a:noFill/>
        </p:spPr>
        <p:txBody>
          <a:bodyPr wrap="square">
            <a:spAutoFit/>
          </a:bodyPr>
          <a:lstStyle/>
          <a:p>
            <a:pPr marL="0" marR="0" lvl="1" indent="0" algn="l" defTabSz="457200" rtl="0" eaLnBrk="1" fontAlgn="auto" latinLnBrk="0" hangingPunct="1">
              <a:lnSpc>
                <a:spcPct val="100000"/>
              </a:lnSpc>
              <a:spcBef>
                <a:spcPts val="0"/>
              </a:spcBef>
              <a:spcAft>
                <a:spcPts val="600"/>
              </a:spcAft>
              <a:buClr>
                <a:srgbClr val="FFFFFF"/>
              </a:buClr>
              <a:buSzPct val="100000"/>
              <a:buFontTx/>
              <a:buNone/>
              <a:tabLst/>
              <a:defRPr/>
            </a:pPr>
            <a:r>
              <a:rPr kumimoji="0" lang="vi-VN" b="1" i="0" u="none" strike="noStrike" kern="1200" cap="none" spc="0" normalizeH="0" baseline="0" noProof="0" dirty="0">
                <a:ln>
                  <a:noFill/>
                </a:ln>
                <a:solidFill>
                  <a:srgbClr val="43ABB6"/>
                </a:solidFill>
                <a:effectLst/>
                <a:uLnTx/>
                <a:uFillTx/>
                <a:ea typeface="+mn-ea"/>
                <a:cs typeface="Arial" pitchFamily="34" charset="0"/>
              </a:rPr>
              <a:t>Tiết kiệm 1 tỷ USD</a:t>
            </a:r>
            <a:br>
              <a:rPr kumimoji="0" lang="vi-VN" b="1" i="0" u="none" strike="noStrike" kern="1200" cap="none" spc="0" normalizeH="0" baseline="0" noProof="0" dirty="0">
                <a:ln>
                  <a:noFill/>
                </a:ln>
                <a:solidFill>
                  <a:srgbClr val="4C5B68"/>
                </a:solidFill>
                <a:effectLst/>
                <a:uLnTx/>
                <a:uFillTx/>
                <a:ea typeface="+mn-ea"/>
                <a:cs typeface="Arial" pitchFamily="34" charset="0"/>
              </a:rPr>
            </a:br>
            <a:r>
              <a:rPr lang="vi-VN" sz="1200" spc="100" dirty="0">
                <a:solidFill>
                  <a:srgbClr val="43ABB6"/>
                </a:solidFill>
                <a:cs typeface="Arial" panose="020B0604020202020204" pitchFamily="34" charset="0"/>
              </a:rPr>
              <a:t>T</a:t>
            </a:r>
            <a:r>
              <a:rPr kumimoji="0" lang="vi-VN" sz="1400" b="0" i="0" u="none" strike="noStrike" kern="1200" cap="none" spc="100" normalizeH="0" baseline="0" noProof="0" dirty="0">
                <a:ln>
                  <a:noFill/>
                </a:ln>
                <a:solidFill>
                  <a:srgbClr val="43ABB6"/>
                </a:solidFill>
                <a:effectLst/>
                <a:uLnTx/>
                <a:uFillTx/>
                <a:ea typeface="+mn-ea"/>
                <a:cs typeface="Arial" panose="020B0604020202020204" pitchFamily="34" charset="0"/>
              </a:rPr>
              <a:t>rong chi phí chăm sóc sức khỏe cho bệnh nhân và hệ thống y tế</a:t>
            </a:r>
            <a:endParaRPr kumimoji="0" lang="vi-VN" sz="1100" b="0" i="0" u="none" strike="noStrike" kern="1200" cap="none" spc="0" normalizeH="0" baseline="0" noProof="0" dirty="0">
              <a:ln>
                <a:noFill/>
              </a:ln>
              <a:solidFill>
                <a:srgbClr val="43ABB6"/>
              </a:solidFill>
              <a:effectLst/>
              <a:uLnTx/>
              <a:uFillTx/>
              <a:ea typeface="+mn-ea"/>
              <a:cs typeface="Calibri" panose="020F0502020204030204" pitchFamily="34" charset="0"/>
            </a:endParaRPr>
          </a:p>
        </p:txBody>
      </p:sp>
      <p:sp>
        <p:nvSpPr>
          <p:cNvPr id="60" name="TextBox 10">
            <a:extLst>
              <a:ext uri="{FF2B5EF4-FFF2-40B4-BE49-F238E27FC236}">
                <a16:creationId xmlns:a16="http://schemas.microsoft.com/office/drawing/2014/main" id="{F7228F8A-B6A5-486C-A60A-6E8B72DA506F}"/>
              </a:ext>
            </a:extLst>
          </p:cNvPr>
          <p:cNvSpPr txBox="1"/>
          <p:nvPr/>
        </p:nvSpPr>
        <p:spPr>
          <a:xfrm>
            <a:off x="8328938" y="5658509"/>
            <a:ext cx="3455612" cy="800219"/>
          </a:xfrm>
          <a:prstGeom prst="rect">
            <a:avLst/>
          </a:prstGeom>
          <a:noFill/>
        </p:spPr>
        <p:txBody>
          <a:bodyPr wrap="square">
            <a:spAutoFit/>
          </a:bodyPr>
          <a:lstStyle/>
          <a:p>
            <a:pPr marL="0" marR="0" lvl="1" indent="0" algn="l" defTabSz="457200" rtl="0" eaLnBrk="1" fontAlgn="auto" latinLnBrk="0" hangingPunct="1">
              <a:lnSpc>
                <a:spcPct val="100000"/>
              </a:lnSpc>
              <a:spcBef>
                <a:spcPts val="0"/>
              </a:spcBef>
              <a:buClr>
                <a:srgbClr val="FFFFFF"/>
              </a:buClr>
              <a:buSzPct val="100000"/>
              <a:buFontTx/>
              <a:buNone/>
              <a:tabLst/>
              <a:defRPr/>
            </a:pPr>
            <a:r>
              <a:rPr kumimoji="0" lang="vi-VN" b="1" i="0" u="none" strike="noStrike" kern="1200" cap="none" spc="0" normalizeH="0" baseline="0" noProof="0" dirty="0">
                <a:ln>
                  <a:noFill/>
                </a:ln>
                <a:solidFill>
                  <a:srgbClr val="43ABB6"/>
                </a:solidFill>
                <a:effectLst/>
                <a:uLnTx/>
                <a:uFillTx/>
                <a:latin typeface="Calibri" panose="020F0502020204030204" pitchFamily="34" charset="0"/>
                <a:cs typeface="Calibri" panose="020F0502020204030204" pitchFamily="34" charset="0"/>
              </a:rPr>
              <a:t>Trao quyền cho &gt;10 quốc gia</a:t>
            </a:r>
          </a:p>
          <a:p>
            <a:pPr marL="0" marR="0" lvl="1" indent="0" algn="l" defTabSz="457200" rtl="0" eaLnBrk="1" fontAlgn="auto" latinLnBrk="0" hangingPunct="1">
              <a:lnSpc>
                <a:spcPct val="100000"/>
              </a:lnSpc>
              <a:spcBef>
                <a:spcPts val="0"/>
              </a:spcBef>
              <a:spcAft>
                <a:spcPts val="600"/>
              </a:spcAft>
              <a:buClr>
                <a:srgbClr val="FFFFFF"/>
              </a:buClr>
              <a:buSzPct val="100000"/>
              <a:buFontTx/>
              <a:buNone/>
              <a:tabLst/>
              <a:defRPr/>
            </a:pPr>
            <a:r>
              <a:rPr lang="vi-VN" sz="1400" spc="100" dirty="0">
                <a:solidFill>
                  <a:srgbClr val="43ABB6"/>
                </a:solidFill>
                <a:latin typeface="Calibri" panose="020F0502020204030204" pitchFamily="34" charset="0"/>
                <a:cs typeface="Calibri" panose="020F0502020204030204" pitchFamily="34" charset="0"/>
              </a:rPr>
              <a:t>D</a:t>
            </a:r>
            <a:r>
              <a:rPr kumimoji="0" lang="vi-VN" sz="1400" i="0" u="none" strike="noStrike" kern="1200" cap="none" spc="100" normalizeH="0" baseline="0" noProof="0" dirty="0">
                <a:ln>
                  <a:noFill/>
                </a:ln>
                <a:solidFill>
                  <a:srgbClr val="43ABB6"/>
                </a:solidFill>
                <a:effectLst/>
                <a:uLnTx/>
                <a:uFillTx/>
                <a:latin typeface="Calibri" panose="020F0502020204030204" pitchFamily="34" charset="0"/>
                <a:cs typeface="Calibri" panose="020F0502020204030204" pitchFamily="34" charset="0"/>
              </a:rPr>
              <a:t>ữ liệu chẩn đoán để xây dựng chính sách chăm sóc y tế</a:t>
            </a:r>
          </a:p>
        </p:txBody>
      </p:sp>
      <p:sp>
        <p:nvSpPr>
          <p:cNvPr id="61" name="ee4pHeader1">
            <a:extLst>
              <a:ext uri="{FF2B5EF4-FFF2-40B4-BE49-F238E27FC236}">
                <a16:creationId xmlns:a16="http://schemas.microsoft.com/office/drawing/2014/main" id="{6C23BEC9-5746-4431-BC17-2EFEAB536C33}"/>
              </a:ext>
            </a:extLst>
          </p:cNvPr>
          <p:cNvSpPr txBox="1"/>
          <p:nvPr/>
        </p:nvSpPr>
        <p:spPr>
          <a:xfrm>
            <a:off x="686858" y="5180940"/>
            <a:ext cx="5315941" cy="307777"/>
          </a:xfrm>
          <a:prstGeom prst="rect">
            <a:avLst/>
          </a:prstGeom>
          <a:noFill/>
          <a:ln cap="rnd">
            <a:noFill/>
          </a:ln>
        </p:spPr>
        <p:txBody>
          <a:bodyPr vert="horz" wrap="square" lIns="0" tIns="0" rIns="0" bIns="0" rtlCol="0" anchor="b" anchorCtr="0">
            <a:spAutoFit/>
          </a:bodyPr>
          <a:lstStyle/>
          <a:p>
            <a:pPr marL="0" marR="0" lvl="0" indent="0" algn="l" defTabSz="457200"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0" lang="en-GB" sz="2000" b="1" i="0" u="none" strike="noStrike" kern="1200" cap="none" spc="0" normalizeH="0" baseline="0" noProof="0" dirty="0">
                <a:ln>
                  <a:noFill/>
                </a:ln>
                <a:solidFill>
                  <a:srgbClr val="43ABB6"/>
                </a:solidFill>
                <a:effectLst/>
                <a:uLnTx/>
                <a:uFillTx/>
                <a:latin typeface="Franklin Gothic Demi" panose="020B0603020102020204" pitchFamily="34" charset="0"/>
                <a:ea typeface="+mn-ea"/>
                <a:cs typeface="Arial" pitchFamily="34" charset="0"/>
              </a:rPr>
              <a:t>CHIẾN LƯỢC 2021: TÁC ĐỘNG MONG ĐỢI</a:t>
            </a:r>
            <a:endParaRPr kumimoji="0" lang="en-GB" sz="2000" b="0" i="0" u="none" strike="noStrike" kern="1200" cap="none" spc="0" normalizeH="0" baseline="0" noProof="0" dirty="0">
              <a:ln>
                <a:noFill/>
              </a:ln>
              <a:solidFill>
                <a:srgbClr val="43ABB6"/>
              </a:solidFill>
              <a:effectLst/>
              <a:uLnTx/>
              <a:uFillTx/>
              <a:latin typeface="Franklin Gothic Medium" panose="020B0603020102020204" pitchFamily="34" charset="0"/>
              <a:ea typeface="+mn-ea"/>
              <a:cs typeface="Arial" pitchFamily="34" charset="0"/>
            </a:endParaRPr>
          </a:p>
        </p:txBody>
      </p:sp>
      <p:grpSp>
        <p:nvGrpSpPr>
          <p:cNvPr id="62" name="Group 61">
            <a:extLst>
              <a:ext uri="{FF2B5EF4-FFF2-40B4-BE49-F238E27FC236}">
                <a16:creationId xmlns:a16="http://schemas.microsoft.com/office/drawing/2014/main" id="{C3AEED94-CA77-47B7-83BB-7C08EE24E19F}"/>
              </a:ext>
            </a:extLst>
          </p:cNvPr>
          <p:cNvGrpSpPr/>
          <p:nvPr/>
        </p:nvGrpSpPr>
        <p:grpSpPr>
          <a:xfrm>
            <a:off x="668959" y="5763118"/>
            <a:ext cx="589965" cy="589962"/>
            <a:chOff x="7070414" y="-803261"/>
            <a:chExt cx="557636" cy="557636"/>
          </a:xfrm>
        </p:grpSpPr>
        <p:sp>
          <p:nvSpPr>
            <p:cNvPr id="63" name="Oval 62">
              <a:extLst>
                <a:ext uri="{FF2B5EF4-FFF2-40B4-BE49-F238E27FC236}">
                  <a16:creationId xmlns:a16="http://schemas.microsoft.com/office/drawing/2014/main" id="{23A333F0-03A4-41CF-8336-01D4DC37FB6C}"/>
                </a:ext>
              </a:extLst>
            </p:cNvPr>
            <p:cNvSpPr/>
            <p:nvPr/>
          </p:nvSpPr>
          <p:spPr>
            <a:xfrm>
              <a:off x="7070414" y="-803261"/>
              <a:ext cx="557636" cy="557636"/>
            </a:xfrm>
            <a:prstGeom prst="ellipse">
              <a:avLst/>
            </a:prstGeom>
            <a:solidFill>
              <a:srgbClr val="43ABB6">
                <a:alpha val="5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endParaRPr>
            </a:p>
          </p:txBody>
        </p:sp>
        <p:grpSp>
          <p:nvGrpSpPr>
            <p:cNvPr id="64" name="Graphic 7">
              <a:extLst>
                <a:ext uri="{FF2B5EF4-FFF2-40B4-BE49-F238E27FC236}">
                  <a16:creationId xmlns:a16="http://schemas.microsoft.com/office/drawing/2014/main" id="{10E53A43-4032-4E24-A87A-FBC28D928862}"/>
                </a:ext>
              </a:extLst>
            </p:cNvPr>
            <p:cNvGrpSpPr/>
            <p:nvPr/>
          </p:nvGrpSpPr>
          <p:grpSpPr>
            <a:xfrm>
              <a:off x="7163168" y="-681780"/>
              <a:ext cx="372128" cy="314674"/>
              <a:chOff x="3657587" y="1367075"/>
              <a:chExt cx="4876802" cy="4123867"/>
            </a:xfrm>
            <a:solidFill>
              <a:schemeClr val="bg1"/>
            </a:solidFill>
          </p:grpSpPr>
          <p:sp>
            <p:nvSpPr>
              <p:cNvPr id="65" name="Freeform 58">
                <a:extLst>
                  <a:ext uri="{FF2B5EF4-FFF2-40B4-BE49-F238E27FC236}">
                    <a16:creationId xmlns:a16="http://schemas.microsoft.com/office/drawing/2014/main" id="{680FED8F-70E3-42B0-86C6-1A8017EEC3F9}"/>
                  </a:ext>
                </a:extLst>
              </p:cNvPr>
              <p:cNvSpPr/>
              <p:nvPr/>
            </p:nvSpPr>
            <p:spPr>
              <a:xfrm>
                <a:off x="3680023" y="2187720"/>
                <a:ext cx="190224" cy="190298"/>
              </a:xfrm>
              <a:custGeom>
                <a:avLst/>
                <a:gdLst>
                  <a:gd name="connsiteX0" fmla="*/ 7114 w 190224"/>
                  <a:gd name="connsiteY0" fmla="*/ 131436 h 190298"/>
                  <a:gd name="connsiteX1" fmla="*/ 98135 w 190224"/>
                  <a:gd name="connsiteY1" fmla="*/ 190243 h 190298"/>
                  <a:gd name="connsiteX2" fmla="*/ 185203 w 190224"/>
                  <a:gd name="connsiteY2" fmla="*/ 125635 h 190298"/>
                  <a:gd name="connsiteX3" fmla="*/ 155456 w 190224"/>
                  <a:gd name="connsiteY3" fmla="*/ 21441 h 190298"/>
                  <a:gd name="connsiteX4" fmla="*/ 43471 w 190224"/>
                  <a:gd name="connsiteY4" fmla="*/ 14973 h 190298"/>
                  <a:gd name="connsiteX5" fmla="*/ 7114 w 190224"/>
                  <a:gd name="connsiteY5" fmla="*/ 131436 h 190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224" h="190298">
                    <a:moveTo>
                      <a:pt x="7114" y="131436"/>
                    </a:moveTo>
                    <a:cubicBezTo>
                      <a:pt x="21954" y="167631"/>
                      <a:pt x="59015" y="191605"/>
                      <a:pt x="98135" y="190243"/>
                    </a:cubicBezTo>
                    <a:cubicBezTo>
                      <a:pt x="137568" y="188871"/>
                      <a:pt x="172296" y="162754"/>
                      <a:pt x="185203" y="125635"/>
                    </a:cubicBezTo>
                    <a:cubicBezTo>
                      <a:pt x="198061" y="88678"/>
                      <a:pt x="185546" y="46196"/>
                      <a:pt x="155456" y="21441"/>
                    </a:cubicBezTo>
                    <a:cubicBezTo>
                      <a:pt x="123900" y="-4524"/>
                      <a:pt x="77818" y="-7182"/>
                      <a:pt x="43471" y="14973"/>
                    </a:cubicBezTo>
                    <a:cubicBezTo>
                      <a:pt x="5323" y="39558"/>
                      <a:pt x="-10355" y="89507"/>
                      <a:pt x="7114" y="131436"/>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59">
                <a:extLst>
                  <a:ext uri="{FF2B5EF4-FFF2-40B4-BE49-F238E27FC236}">
                    <a16:creationId xmlns:a16="http://schemas.microsoft.com/office/drawing/2014/main" id="{D0EFEB9F-3B83-4EBF-91A9-06C0AFC116A1}"/>
                  </a:ext>
                </a:extLst>
              </p:cNvPr>
              <p:cNvSpPr/>
              <p:nvPr/>
            </p:nvSpPr>
            <p:spPr>
              <a:xfrm>
                <a:off x="3657587" y="1367075"/>
                <a:ext cx="4876802" cy="4123867"/>
              </a:xfrm>
              <a:custGeom>
                <a:avLst/>
                <a:gdLst>
                  <a:gd name="connsiteX0" fmla="*/ 3953507 w 4876802"/>
                  <a:gd name="connsiteY0" fmla="*/ 1682086 h 4123867"/>
                  <a:gd name="connsiteX1" fmla="*/ 3979253 w 4876802"/>
                  <a:gd name="connsiteY1" fmla="*/ 1610182 h 4123867"/>
                  <a:gd name="connsiteX2" fmla="*/ 4044937 w 4876802"/>
                  <a:gd name="connsiteY2" fmla="*/ 1111663 h 4123867"/>
                  <a:gd name="connsiteX3" fmla="*/ 3667071 w 4876802"/>
                  <a:gd name="connsiteY3" fmla="*/ 326679 h 4123867"/>
                  <a:gd name="connsiteX4" fmla="*/ 2898013 w 4876802"/>
                  <a:gd name="connsiteY4" fmla="*/ 0 h 4123867"/>
                  <a:gd name="connsiteX5" fmla="*/ 2035781 w 4876802"/>
                  <a:gd name="connsiteY5" fmla="*/ 355949 h 4123867"/>
                  <a:gd name="connsiteX6" fmla="*/ 1996976 w 4876802"/>
                  <a:gd name="connsiteY6" fmla="*/ 356416 h 4123867"/>
                  <a:gd name="connsiteX7" fmla="*/ 1137945 w 4876802"/>
                  <a:gd name="connsiteY7" fmla="*/ 0 h 4123867"/>
                  <a:gd name="connsiteX8" fmla="*/ 256654 w 4876802"/>
                  <a:gd name="connsiteY8" fmla="*/ 446665 h 4123867"/>
                  <a:gd name="connsiteX9" fmla="*/ 269770 w 4876802"/>
                  <a:gd name="connsiteY9" fmla="*/ 580730 h 4123867"/>
                  <a:gd name="connsiteX10" fmla="*/ 403834 w 4876802"/>
                  <a:gd name="connsiteY10" fmla="*/ 567614 h 4123867"/>
                  <a:gd name="connsiteX11" fmla="*/ 1137945 w 4876802"/>
                  <a:gd name="connsiteY11" fmla="*/ 190510 h 4123867"/>
                  <a:gd name="connsiteX12" fmla="*/ 1873332 w 4876802"/>
                  <a:gd name="connsiteY12" fmla="*/ 501358 h 4123867"/>
                  <a:gd name="connsiteX13" fmla="*/ 2161873 w 4876802"/>
                  <a:gd name="connsiteY13" fmla="*/ 498758 h 4123867"/>
                  <a:gd name="connsiteX14" fmla="*/ 2898004 w 4876802"/>
                  <a:gd name="connsiteY14" fmla="*/ 190510 h 4123867"/>
                  <a:gd name="connsiteX15" fmla="*/ 3854647 w 4876802"/>
                  <a:gd name="connsiteY15" fmla="*/ 1120778 h 4123867"/>
                  <a:gd name="connsiteX16" fmla="*/ 3798202 w 4876802"/>
                  <a:gd name="connsiteY16" fmla="*/ 1550861 h 4123867"/>
                  <a:gd name="connsiteX17" fmla="*/ 3761711 w 4876802"/>
                  <a:gd name="connsiteY17" fmla="*/ 1648301 h 4123867"/>
                  <a:gd name="connsiteX18" fmla="*/ 3645506 w 4876802"/>
                  <a:gd name="connsiteY18" fmla="*/ 1642815 h 4123867"/>
                  <a:gd name="connsiteX19" fmla="*/ 2414200 w 4876802"/>
                  <a:gd name="connsiteY19" fmla="*/ 2883341 h 4123867"/>
                  <a:gd name="connsiteX20" fmla="*/ 2417867 w 4876802"/>
                  <a:gd name="connsiteY20" fmla="*/ 2979487 h 4123867"/>
                  <a:gd name="connsiteX21" fmla="*/ 2183086 w 4876802"/>
                  <a:gd name="connsiteY21" fmla="*/ 3173397 h 4123867"/>
                  <a:gd name="connsiteX22" fmla="*/ 1849596 w 4876802"/>
                  <a:gd name="connsiteY22" fmla="*/ 3173339 h 4123867"/>
                  <a:gd name="connsiteX23" fmla="*/ 1531823 w 4876802"/>
                  <a:gd name="connsiteY23" fmla="*/ 2911602 h 4123867"/>
                  <a:gd name="connsiteX24" fmla="*/ 372726 w 4876802"/>
                  <a:gd name="connsiteY24" fmla="*/ 1841925 h 4123867"/>
                  <a:gd name="connsiteX25" fmla="*/ 197704 w 4876802"/>
                  <a:gd name="connsiteY25" fmla="*/ 1391174 h 4123867"/>
                  <a:gd name="connsiteX26" fmla="*/ 189722 w 4876802"/>
                  <a:gd name="connsiteY26" fmla="*/ 1338986 h 4123867"/>
                  <a:gd name="connsiteX27" fmla="*/ 83004 w 4876802"/>
                  <a:gd name="connsiteY27" fmla="*/ 1256786 h 4123867"/>
                  <a:gd name="connsiteX28" fmla="*/ 803 w 4876802"/>
                  <a:gd name="connsiteY28" fmla="*/ 1363504 h 4123867"/>
                  <a:gd name="connsiteX29" fmla="*/ 10100 w 4876802"/>
                  <a:gd name="connsiteY29" fmla="*/ 1424235 h 4123867"/>
                  <a:gd name="connsiteX30" fmla="*/ 208553 w 4876802"/>
                  <a:gd name="connsiteY30" fmla="*/ 1938547 h 4123867"/>
                  <a:gd name="connsiteX31" fmla="*/ 1411484 w 4876802"/>
                  <a:gd name="connsiteY31" fmla="*/ 3059268 h 4123867"/>
                  <a:gd name="connsiteX32" fmla="*/ 1726457 w 4876802"/>
                  <a:gd name="connsiteY32" fmla="*/ 3318681 h 4123867"/>
                  <a:gd name="connsiteX33" fmla="*/ 2016379 w 4876802"/>
                  <a:gd name="connsiteY33" fmla="*/ 3425409 h 4123867"/>
                  <a:gd name="connsiteX34" fmla="*/ 2306168 w 4876802"/>
                  <a:gd name="connsiteY34" fmla="*/ 3318796 h 4123867"/>
                  <a:gd name="connsiteX35" fmla="*/ 2453843 w 4876802"/>
                  <a:gd name="connsiteY35" fmla="*/ 3196133 h 4123867"/>
                  <a:gd name="connsiteX36" fmla="*/ 3645506 w 4876802"/>
                  <a:gd name="connsiteY36" fmla="*/ 4123868 h 4123867"/>
                  <a:gd name="connsiteX37" fmla="*/ 4876803 w 4876802"/>
                  <a:gd name="connsiteY37" fmla="*/ 2883341 h 4123867"/>
                  <a:gd name="connsiteX38" fmla="*/ 3953507 w 4876802"/>
                  <a:gd name="connsiteY38" fmla="*/ 1682086 h 4123867"/>
                  <a:gd name="connsiteX39" fmla="*/ 3645525 w 4876802"/>
                  <a:gd name="connsiteY39" fmla="*/ 3933359 h 4123867"/>
                  <a:gd name="connsiteX40" fmla="*/ 2604710 w 4876802"/>
                  <a:gd name="connsiteY40" fmla="*/ 2883332 h 4123867"/>
                  <a:gd name="connsiteX41" fmla="*/ 3645525 w 4876802"/>
                  <a:gd name="connsiteY41" fmla="*/ 1833305 h 4123867"/>
                  <a:gd name="connsiteX42" fmla="*/ 4686332 w 4876802"/>
                  <a:gd name="connsiteY42" fmla="*/ 2883332 h 4123867"/>
                  <a:gd name="connsiteX43" fmla="*/ 3645525 w 4876802"/>
                  <a:gd name="connsiteY43" fmla="*/ 3933359 h 412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4876802" h="4123867">
                    <a:moveTo>
                      <a:pt x="3953507" y="1682086"/>
                    </a:moveTo>
                    <a:cubicBezTo>
                      <a:pt x="3962841" y="1658026"/>
                      <a:pt x="3971442" y="1634023"/>
                      <a:pt x="3979253" y="1610182"/>
                    </a:cubicBezTo>
                    <a:cubicBezTo>
                      <a:pt x="4031831" y="1449781"/>
                      <a:pt x="4053310" y="1286713"/>
                      <a:pt x="4044937" y="1111663"/>
                    </a:cubicBezTo>
                    <a:cubicBezTo>
                      <a:pt x="4031050" y="821693"/>
                      <a:pt x="3896852" y="542916"/>
                      <a:pt x="3667071" y="326679"/>
                    </a:cubicBezTo>
                    <a:cubicBezTo>
                      <a:pt x="3446462" y="119072"/>
                      <a:pt x="3166151" y="0"/>
                      <a:pt x="2898013" y="0"/>
                    </a:cubicBezTo>
                    <a:cubicBezTo>
                      <a:pt x="2498535" y="0"/>
                      <a:pt x="2186334" y="223009"/>
                      <a:pt x="2035781" y="355949"/>
                    </a:cubicBezTo>
                    <a:cubicBezTo>
                      <a:pt x="2024580" y="365846"/>
                      <a:pt x="2008254" y="366055"/>
                      <a:pt x="1996976" y="356416"/>
                    </a:cubicBezTo>
                    <a:cubicBezTo>
                      <a:pt x="1840938" y="223304"/>
                      <a:pt x="1521841" y="0"/>
                      <a:pt x="1137945" y="0"/>
                    </a:cubicBezTo>
                    <a:cubicBezTo>
                      <a:pt x="820725" y="0"/>
                      <a:pt x="483035" y="171155"/>
                      <a:pt x="256654" y="446665"/>
                    </a:cubicBezTo>
                    <a:cubicBezTo>
                      <a:pt x="223260" y="487308"/>
                      <a:pt x="229127" y="547335"/>
                      <a:pt x="269770" y="580730"/>
                    </a:cubicBezTo>
                    <a:cubicBezTo>
                      <a:pt x="310423" y="614134"/>
                      <a:pt x="370440" y="608257"/>
                      <a:pt x="403834" y="567614"/>
                    </a:cubicBezTo>
                    <a:cubicBezTo>
                      <a:pt x="594963" y="335013"/>
                      <a:pt x="876265" y="190510"/>
                      <a:pt x="1137945" y="190510"/>
                    </a:cubicBezTo>
                    <a:cubicBezTo>
                      <a:pt x="1460748" y="190510"/>
                      <a:pt x="1737249" y="385267"/>
                      <a:pt x="1873332" y="501358"/>
                    </a:cubicBezTo>
                    <a:cubicBezTo>
                      <a:pt x="1956143" y="571995"/>
                      <a:pt x="2080187" y="570881"/>
                      <a:pt x="2161873" y="498758"/>
                    </a:cubicBezTo>
                    <a:cubicBezTo>
                      <a:pt x="2292242" y="383638"/>
                      <a:pt x="2561247" y="190510"/>
                      <a:pt x="2898004" y="190510"/>
                    </a:cubicBezTo>
                    <a:cubicBezTo>
                      <a:pt x="3328543" y="190510"/>
                      <a:pt x="3829139" y="588350"/>
                      <a:pt x="3854647" y="1120778"/>
                    </a:cubicBezTo>
                    <a:cubicBezTo>
                      <a:pt x="3861886" y="1272216"/>
                      <a:pt x="3843417" y="1412900"/>
                      <a:pt x="3798202" y="1550861"/>
                    </a:cubicBezTo>
                    <a:cubicBezTo>
                      <a:pt x="3787495" y="1583531"/>
                      <a:pt x="3775437" y="1615745"/>
                      <a:pt x="3761711" y="1648301"/>
                    </a:cubicBezTo>
                    <a:cubicBezTo>
                      <a:pt x="3723449" y="1644672"/>
                      <a:pt x="3684692" y="1642815"/>
                      <a:pt x="3645506" y="1642815"/>
                    </a:cubicBezTo>
                    <a:cubicBezTo>
                      <a:pt x="2966564" y="1642815"/>
                      <a:pt x="2414200" y="2199313"/>
                      <a:pt x="2414200" y="2883341"/>
                    </a:cubicBezTo>
                    <a:cubicBezTo>
                      <a:pt x="2414200" y="2915688"/>
                      <a:pt x="2415438" y="2947749"/>
                      <a:pt x="2417867" y="2979487"/>
                    </a:cubicBezTo>
                    <a:cubicBezTo>
                      <a:pt x="2323646" y="3056325"/>
                      <a:pt x="2247074" y="3119238"/>
                      <a:pt x="2183086" y="3173397"/>
                    </a:cubicBezTo>
                    <a:cubicBezTo>
                      <a:pt x="2086454" y="3255198"/>
                      <a:pt x="1946208" y="3255178"/>
                      <a:pt x="1849596" y="3173339"/>
                    </a:cubicBezTo>
                    <a:cubicBezTo>
                      <a:pt x="1763166" y="3100111"/>
                      <a:pt x="1650790" y="3008548"/>
                      <a:pt x="1531823" y="2911602"/>
                    </a:cubicBezTo>
                    <a:cubicBezTo>
                      <a:pt x="1102408" y="2561682"/>
                      <a:pt x="514296" y="2082451"/>
                      <a:pt x="372726" y="1841925"/>
                    </a:cubicBezTo>
                    <a:cubicBezTo>
                      <a:pt x="279648" y="1683791"/>
                      <a:pt x="224031" y="1540564"/>
                      <a:pt x="197704" y="1391174"/>
                    </a:cubicBezTo>
                    <a:cubicBezTo>
                      <a:pt x="194665" y="1373905"/>
                      <a:pt x="191970" y="1356350"/>
                      <a:pt x="189722" y="1338986"/>
                    </a:cubicBezTo>
                    <a:cubicBezTo>
                      <a:pt x="182950" y="1286818"/>
                      <a:pt x="135172" y="1250013"/>
                      <a:pt x="83004" y="1256786"/>
                    </a:cubicBezTo>
                    <a:cubicBezTo>
                      <a:pt x="30835" y="1263558"/>
                      <a:pt x="-5969" y="1311345"/>
                      <a:pt x="803" y="1363504"/>
                    </a:cubicBezTo>
                    <a:cubicBezTo>
                      <a:pt x="3422" y="1383716"/>
                      <a:pt x="6556" y="1404147"/>
                      <a:pt x="10100" y="1424235"/>
                    </a:cubicBezTo>
                    <a:cubicBezTo>
                      <a:pt x="40503" y="1596742"/>
                      <a:pt x="103559" y="1760172"/>
                      <a:pt x="208553" y="1938547"/>
                    </a:cubicBezTo>
                    <a:cubicBezTo>
                      <a:pt x="367458" y="2208533"/>
                      <a:pt x="946340" y="2680240"/>
                      <a:pt x="1411484" y="3059268"/>
                    </a:cubicBezTo>
                    <a:cubicBezTo>
                      <a:pt x="1529737" y="3155623"/>
                      <a:pt x="1641418" y="3246634"/>
                      <a:pt x="1726457" y="3318681"/>
                    </a:cubicBezTo>
                    <a:cubicBezTo>
                      <a:pt x="1810448" y="3389843"/>
                      <a:pt x="1913395" y="3425409"/>
                      <a:pt x="2016379" y="3425409"/>
                    </a:cubicBezTo>
                    <a:cubicBezTo>
                      <a:pt x="2119278" y="3425409"/>
                      <a:pt x="2222205" y="3389862"/>
                      <a:pt x="2306168" y="3318796"/>
                    </a:cubicBezTo>
                    <a:cubicBezTo>
                      <a:pt x="2348944" y="3282591"/>
                      <a:pt x="2397674" y="3242215"/>
                      <a:pt x="2453843" y="3196133"/>
                    </a:cubicBezTo>
                    <a:cubicBezTo>
                      <a:pt x="2591794" y="3729238"/>
                      <a:pt x="3073768" y="4123868"/>
                      <a:pt x="3645506" y="4123868"/>
                    </a:cubicBezTo>
                    <a:cubicBezTo>
                      <a:pt x="4324449" y="4123868"/>
                      <a:pt x="4876803" y="3567370"/>
                      <a:pt x="4876803" y="2883341"/>
                    </a:cubicBezTo>
                    <a:cubicBezTo>
                      <a:pt x="4876822" y="2306412"/>
                      <a:pt x="4483897" y="1820199"/>
                      <a:pt x="3953507" y="1682086"/>
                    </a:cubicBezTo>
                    <a:close/>
                    <a:moveTo>
                      <a:pt x="3645525" y="3933359"/>
                    </a:moveTo>
                    <a:cubicBezTo>
                      <a:pt x="3071616" y="3933359"/>
                      <a:pt x="2604710" y="3462319"/>
                      <a:pt x="2604710" y="2883332"/>
                    </a:cubicBezTo>
                    <a:cubicBezTo>
                      <a:pt x="2604710" y="2304345"/>
                      <a:pt x="3071616" y="1833305"/>
                      <a:pt x="3645525" y="1833305"/>
                    </a:cubicBezTo>
                    <a:cubicBezTo>
                      <a:pt x="4219426" y="1833305"/>
                      <a:pt x="4686332" y="2304345"/>
                      <a:pt x="4686332" y="2883332"/>
                    </a:cubicBezTo>
                    <a:cubicBezTo>
                      <a:pt x="4686322" y="3462319"/>
                      <a:pt x="4219426" y="3933359"/>
                      <a:pt x="3645525" y="3933359"/>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61">
                <a:extLst>
                  <a:ext uri="{FF2B5EF4-FFF2-40B4-BE49-F238E27FC236}">
                    <a16:creationId xmlns:a16="http://schemas.microsoft.com/office/drawing/2014/main" id="{64654CFD-E47F-46F0-A7A7-6841A408ADA4}"/>
                  </a:ext>
                </a:extLst>
              </p:cNvPr>
              <p:cNvSpPr/>
              <p:nvPr/>
            </p:nvSpPr>
            <p:spPr>
              <a:xfrm>
                <a:off x="6635905" y="3578323"/>
                <a:ext cx="1334404" cy="1344187"/>
              </a:xfrm>
              <a:custGeom>
                <a:avLst/>
                <a:gdLst>
                  <a:gd name="connsiteX0" fmla="*/ 1123436 w 1334404"/>
                  <a:gd name="connsiteY0" fmla="*/ 344805 h 1344187"/>
                  <a:gd name="connsiteX1" fmla="*/ 992524 w 1334404"/>
                  <a:gd name="connsiteY1" fmla="*/ 344805 h 1344187"/>
                  <a:gd name="connsiteX2" fmla="*/ 992524 w 1334404"/>
                  <a:gd name="connsiteY2" fmla="*/ 211912 h 1344187"/>
                  <a:gd name="connsiteX3" fmla="*/ 781555 w 1334404"/>
                  <a:gd name="connsiteY3" fmla="*/ 0 h 1344187"/>
                  <a:gd name="connsiteX4" fmla="*/ 552850 w 1334404"/>
                  <a:gd name="connsiteY4" fmla="*/ 0 h 1344187"/>
                  <a:gd name="connsiteX5" fmla="*/ 341881 w 1334404"/>
                  <a:gd name="connsiteY5" fmla="*/ 211912 h 1344187"/>
                  <a:gd name="connsiteX6" fmla="*/ 341881 w 1334404"/>
                  <a:gd name="connsiteY6" fmla="*/ 344805 h 1344187"/>
                  <a:gd name="connsiteX7" fmla="*/ 210969 w 1334404"/>
                  <a:gd name="connsiteY7" fmla="*/ 344805 h 1344187"/>
                  <a:gd name="connsiteX8" fmla="*/ 0 w 1334404"/>
                  <a:gd name="connsiteY8" fmla="*/ 556717 h 1344187"/>
                  <a:gd name="connsiteX9" fmla="*/ 0 w 1334404"/>
                  <a:gd name="connsiteY9" fmla="*/ 787460 h 1344187"/>
                  <a:gd name="connsiteX10" fmla="*/ 210969 w 1334404"/>
                  <a:gd name="connsiteY10" fmla="*/ 999372 h 1344187"/>
                  <a:gd name="connsiteX11" fmla="*/ 341881 w 1334404"/>
                  <a:gd name="connsiteY11" fmla="*/ 999372 h 1344187"/>
                  <a:gd name="connsiteX12" fmla="*/ 341881 w 1334404"/>
                  <a:gd name="connsiteY12" fmla="*/ 1132275 h 1344187"/>
                  <a:gd name="connsiteX13" fmla="*/ 552850 w 1334404"/>
                  <a:gd name="connsiteY13" fmla="*/ 1344187 h 1344187"/>
                  <a:gd name="connsiteX14" fmla="*/ 781555 w 1334404"/>
                  <a:gd name="connsiteY14" fmla="*/ 1344187 h 1344187"/>
                  <a:gd name="connsiteX15" fmla="*/ 992524 w 1334404"/>
                  <a:gd name="connsiteY15" fmla="*/ 1132275 h 1344187"/>
                  <a:gd name="connsiteX16" fmla="*/ 992524 w 1334404"/>
                  <a:gd name="connsiteY16" fmla="*/ 999372 h 1344187"/>
                  <a:gd name="connsiteX17" fmla="*/ 1123436 w 1334404"/>
                  <a:gd name="connsiteY17" fmla="*/ 999372 h 1344187"/>
                  <a:gd name="connsiteX18" fmla="*/ 1334405 w 1334404"/>
                  <a:gd name="connsiteY18" fmla="*/ 787460 h 1344187"/>
                  <a:gd name="connsiteX19" fmla="*/ 1334405 w 1334404"/>
                  <a:gd name="connsiteY19" fmla="*/ 556717 h 1344187"/>
                  <a:gd name="connsiteX20" fmla="*/ 1123436 w 1334404"/>
                  <a:gd name="connsiteY20" fmla="*/ 344805 h 1344187"/>
                  <a:gd name="connsiteX21" fmla="*/ 1143914 w 1334404"/>
                  <a:gd name="connsiteY21" fmla="*/ 787451 h 1344187"/>
                  <a:gd name="connsiteX22" fmla="*/ 1123445 w 1334404"/>
                  <a:gd name="connsiteY22" fmla="*/ 808863 h 1344187"/>
                  <a:gd name="connsiteX23" fmla="*/ 897283 w 1334404"/>
                  <a:gd name="connsiteY23" fmla="*/ 808863 h 1344187"/>
                  <a:gd name="connsiteX24" fmla="*/ 802033 w 1334404"/>
                  <a:gd name="connsiteY24" fmla="*/ 904113 h 1344187"/>
                  <a:gd name="connsiteX25" fmla="*/ 802033 w 1334404"/>
                  <a:gd name="connsiteY25" fmla="*/ 1132265 h 1344187"/>
                  <a:gd name="connsiteX26" fmla="*/ 781564 w 1334404"/>
                  <a:gd name="connsiteY26" fmla="*/ 1153678 h 1344187"/>
                  <a:gd name="connsiteX27" fmla="*/ 552860 w 1334404"/>
                  <a:gd name="connsiteY27" fmla="*/ 1153678 h 1344187"/>
                  <a:gd name="connsiteX28" fmla="*/ 532390 w 1334404"/>
                  <a:gd name="connsiteY28" fmla="*/ 1132265 h 1344187"/>
                  <a:gd name="connsiteX29" fmla="*/ 532390 w 1334404"/>
                  <a:gd name="connsiteY29" fmla="*/ 904113 h 1344187"/>
                  <a:gd name="connsiteX30" fmla="*/ 437140 w 1334404"/>
                  <a:gd name="connsiteY30" fmla="*/ 808863 h 1344187"/>
                  <a:gd name="connsiteX31" fmla="*/ 210979 w 1334404"/>
                  <a:gd name="connsiteY31" fmla="*/ 808863 h 1344187"/>
                  <a:gd name="connsiteX32" fmla="*/ 190509 w 1334404"/>
                  <a:gd name="connsiteY32" fmla="*/ 787451 h 1344187"/>
                  <a:gd name="connsiteX33" fmla="*/ 190509 w 1334404"/>
                  <a:gd name="connsiteY33" fmla="*/ 556708 h 1344187"/>
                  <a:gd name="connsiteX34" fmla="*/ 210979 w 1334404"/>
                  <a:gd name="connsiteY34" fmla="*/ 535296 h 1344187"/>
                  <a:gd name="connsiteX35" fmla="*/ 437140 w 1334404"/>
                  <a:gd name="connsiteY35" fmla="*/ 535296 h 1344187"/>
                  <a:gd name="connsiteX36" fmla="*/ 532390 w 1334404"/>
                  <a:gd name="connsiteY36" fmla="*/ 440046 h 1344187"/>
                  <a:gd name="connsiteX37" fmla="*/ 532390 w 1334404"/>
                  <a:gd name="connsiteY37" fmla="*/ 211903 h 1344187"/>
                  <a:gd name="connsiteX38" fmla="*/ 552860 w 1334404"/>
                  <a:gd name="connsiteY38" fmla="*/ 190490 h 1344187"/>
                  <a:gd name="connsiteX39" fmla="*/ 781564 w 1334404"/>
                  <a:gd name="connsiteY39" fmla="*/ 190490 h 1344187"/>
                  <a:gd name="connsiteX40" fmla="*/ 802033 w 1334404"/>
                  <a:gd name="connsiteY40" fmla="*/ 211903 h 1344187"/>
                  <a:gd name="connsiteX41" fmla="*/ 802033 w 1334404"/>
                  <a:gd name="connsiteY41" fmla="*/ 440046 h 1344187"/>
                  <a:gd name="connsiteX42" fmla="*/ 897283 w 1334404"/>
                  <a:gd name="connsiteY42" fmla="*/ 535296 h 1344187"/>
                  <a:gd name="connsiteX43" fmla="*/ 1123445 w 1334404"/>
                  <a:gd name="connsiteY43" fmla="*/ 535296 h 1344187"/>
                  <a:gd name="connsiteX44" fmla="*/ 1143914 w 1334404"/>
                  <a:gd name="connsiteY44" fmla="*/ 556708 h 134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34404" h="1344187">
                    <a:moveTo>
                      <a:pt x="1123436" y="344805"/>
                    </a:moveTo>
                    <a:lnTo>
                      <a:pt x="992524" y="344805"/>
                    </a:lnTo>
                    <a:lnTo>
                      <a:pt x="992524" y="211912"/>
                    </a:lnTo>
                    <a:cubicBezTo>
                      <a:pt x="992524" y="95060"/>
                      <a:pt x="897884" y="0"/>
                      <a:pt x="781555" y="0"/>
                    </a:cubicBezTo>
                    <a:lnTo>
                      <a:pt x="552850" y="0"/>
                    </a:lnTo>
                    <a:cubicBezTo>
                      <a:pt x="436521" y="0"/>
                      <a:pt x="341881" y="95060"/>
                      <a:pt x="341881" y="211912"/>
                    </a:cubicBezTo>
                    <a:lnTo>
                      <a:pt x="341881" y="344805"/>
                    </a:lnTo>
                    <a:lnTo>
                      <a:pt x="210969" y="344805"/>
                    </a:lnTo>
                    <a:cubicBezTo>
                      <a:pt x="94640" y="344805"/>
                      <a:pt x="0" y="439864"/>
                      <a:pt x="0" y="556717"/>
                    </a:cubicBezTo>
                    <a:lnTo>
                      <a:pt x="0" y="787460"/>
                    </a:lnTo>
                    <a:cubicBezTo>
                      <a:pt x="0" y="904313"/>
                      <a:pt x="94640" y="999372"/>
                      <a:pt x="210969" y="999372"/>
                    </a:cubicBezTo>
                    <a:lnTo>
                      <a:pt x="341881" y="999372"/>
                    </a:lnTo>
                    <a:lnTo>
                      <a:pt x="341881" y="1132275"/>
                    </a:lnTo>
                    <a:cubicBezTo>
                      <a:pt x="341881" y="1249118"/>
                      <a:pt x="436521" y="1344187"/>
                      <a:pt x="552850" y="1344187"/>
                    </a:cubicBezTo>
                    <a:lnTo>
                      <a:pt x="781555" y="1344187"/>
                    </a:lnTo>
                    <a:cubicBezTo>
                      <a:pt x="897884" y="1344187"/>
                      <a:pt x="992524" y="1249128"/>
                      <a:pt x="992524" y="1132275"/>
                    </a:cubicBezTo>
                    <a:lnTo>
                      <a:pt x="992524" y="999372"/>
                    </a:lnTo>
                    <a:lnTo>
                      <a:pt x="1123436" y="999372"/>
                    </a:lnTo>
                    <a:cubicBezTo>
                      <a:pt x="1239765" y="999372"/>
                      <a:pt x="1334405" y="904313"/>
                      <a:pt x="1334405" y="787460"/>
                    </a:cubicBezTo>
                    <a:lnTo>
                      <a:pt x="1334405" y="556717"/>
                    </a:lnTo>
                    <a:cubicBezTo>
                      <a:pt x="1334414" y="439864"/>
                      <a:pt x="1239765" y="344805"/>
                      <a:pt x="1123436" y="344805"/>
                    </a:cubicBezTo>
                    <a:close/>
                    <a:moveTo>
                      <a:pt x="1143914" y="787451"/>
                    </a:moveTo>
                    <a:cubicBezTo>
                      <a:pt x="1143914" y="799252"/>
                      <a:pt x="1134732" y="808863"/>
                      <a:pt x="1123445" y="808863"/>
                    </a:cubicBezTo>
                    <a:lnTo>
                      <a:pt x="897283" y="808863"/>
                    </a:lnTo>
                    <a:cubicBezTo>
                      <a:pt x="844687" y="808863"/>
                      <a:pt x="802033" y="851506"/>
                      <a:pt x="802033" y="904113"/>
                    </a:cubicBezTo>
                    <a:lnTo>
                      <a:pt x="802033" y="1132265"/>
                    </a:lnTo>
                    <a:cubicBezTo>
                      <a:pt x="802033" y="1144067"/>
                      <a:pt x="792851" y="1153678"/>
                      <a:pt x="781564" y="1153678"/>
                    </a:cubicBezTo>
                    <a:lnTo>
                      <a:pt x="552860" y="1153678"/>
                    </a:lnTo>
                    <a:cubicBezTo>
                      <a:pt x="541563" y="1153678"/>
                      <a:pt x="532390" y="1144076"/>
                      <a:pt x="532390" y="1132265"/>
                    </a:cubicBezTo>
                    <a:lnTo>
                      <a:pt x="532390" y="904113"/>
                    </a:lnTo>
                    <a:cubicBezTo>
                      <a:pt x="532390" y="851506"/>
                      <a:pt x="489737" y="808863"/>
                      <a:pt x="437140" y="808863"/>
                    </a:cubicBezTo>
                    <a:lnTo>
                      <a:pt x="210979" y="808863"/>
                    </a:lnTo>
                    <a:cubicBezTo>
                      <a:pt x="199682" y="808863"/>
                      <a:pt x="190509" y="799262"/>
                      <a:pt x="190509" y="787451"/>
                    </a:cubicBezTo>
                    <a:lnTo>
                      <a:pt x="190509" y="556708"/>
                    </a:lnTo>
                    <a:cubicBezTo>
                      <a:pt x="190509" y="544897"/>
                      <a:pt x="199692" y="535296"/>
                      <a:pt x="210979" y="535296"/>
                    </a:cubicBezTo>
                    <a:lnTo>
                      <a:pt x="437140" y="535296"/>
                    </a:lnTo>
                    <a:cubicBezTo>
                      <a:pt x="489737" y="535296"/>
                      <a:pt x="532390" y="492652"/>
                      <a:pt x="532390" y="440046"/>
                    </a:cubicBezTo>
                    <a:lnTo>
                      <a:pt x="532390" y="211903"/>
                    </a:lnTo>
                    <a:cubicBezTo>
                      <a:pt x="532390" y="200092"/>
                      <a:pt x="541572" y="190490"/>
                      <a:pt x="552860" y="190490"/>
                    </a:cubicBezTo>
                    <a:lnTo>
                      <a:pt x="781564" y="190490"/>
                    </a:lnTo>
                    <a:cubicBezTo>
                      <a:pt x="792851" y="190490"/>
                      <a:pt x="802033" y="200092"/>
                      <a:pt x="802033" y="211903"/>
                    </a:cubicBezTo>
                    <a:lnTo>
                      <a:pt x="802033" y="440046"/>
                    </a:lnTo>
                    <a:cubicBezTo>
                      <a:pt x="802033" y="492652"/>
                      <a:pt x="844687" y="535296"/>
                      <a:pt x="897283" y="535296"/>
                    </a:cubicBezTo>
                    <a:lnTo>
                      <a:pt x="1123445" y="535296"/>
                    </a:lnTo>
                    <a:cubicBezTo>
                      <a:pt x="1134742" y="535296"/>
                      <a:pt x="1143914" y="544897"/>
                      <a:pt x="1143914" y="556708"/>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grpSp>
      </p:grpSp>
      <p:grpSp>
        <p:nvGrpSpPr>
          <p:cNvPr id="68" name="Group 67">
            <a:extLst>
              <a:ext uri="{FF2B5EF4-FFF2-40B4-BE49-F238E27FC236}">
                <a16:creationId xmlns:a16="http://schemas.microsoft.com/office/drawing/2014/main" id="{F3E2A4ED-6C33-498E-9304-24D5A6B4024E}"/>
              </a:ext>
            </a:extLst>
          </p:cNvPr>
          <p:cNvGrpSpPr/>
          <p:nvPr/>
        </p:nvGrpSpPr>
        <p:grpSpPr>
          <a:xfrm>
            <a:off x="7704902" y="5763118"/>
            <a:ext cx="589965" cy="589962"/>
            <a:chOff x="7845921" y="-803261"/>
            <a:chExt cx="557636" cy="557636"/>
          </a:xfrm>
        </p:grpSpPr>
        <p:sp>
          <p:nvSpPr>
            <p:cNvPr id="69" name="Oval 68">
              <a:extLst>
                <a:ext uri="{FF2B5EF4-FFF2-40B4-BE49-F238E27FC236}">
                  <a16:creationId xmlns:a16="http://schemas.microsoft.com/office/drawing/2014/main" id="{D745E7A5-52D2-4F19-91B2-31E335109678}"/>
                </a:ext>
              </a:extLst>
            </p:cNvPr>
            <p:cNvSpPr/>
            <p:nvPr/>
          </p:nvSpPr>
          <p:spPr>
            <a:xfrm>
              <a:off x="7845921" y="-803261"/>
              <a:ext cx="557636" cy="557636"/>
            </a:xfrm>
            <a:prstGeom prst="ellipse">
              <a:avLst/>
            </a:prstGeom>
            <a:solidFill>
              <a:srgbClr val="43ABB6">
                <a:alpha val="5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endParaRPr>
            </a:p>
          </p:txBody>
        </p:sp>
        <p:sp>
          <p:nvSpPr>
            <p:cNvPr id="70" name="Graphic 5">
              <a:extLst>
                <a:ext uri="{FF2B5EF4-FFF2-40B4-BE49-F238E27FC236}">
                  <a16:creationId xmlns:a16="http://schemas.microsoft.com/office/drawing/2014/main" id="{979102AF-B333-4E45-BC0F-F2018E553F62}"/>
                </a:ext>
              </a:extLst>
            </p:cNvPr>
            <p:cNvSpPr/>
            <p:nvPr/>
          </p:nvSpPr>
          <p:spPr>
            <a:xfrm>
              <a:off x="7950076" y="-699106"/>
              <a:ext cx="349326" cy="349326"/>
            </a:xfrm>
            <a:custGeom>
              <a:avLst/>
              <a:gdLst>
                <a:gd name="connsiteX0" fmla="*/ 4711027 w 4876790"/>
                <a:gd name="connsiteY0" fmla="*/ 1552908 h 4876800"/>
                <a:gd name="connsiteX1" fmla="*/ 4707693 w 4876790"/>
                <a:gd name="connsiteY1" fmla="*/ 1545650 h 4876800"/>
                <a:gd name="connsiteX2" fmla="*/ 4253684 w 4876790"/>
                <a:gd name="connsiteY2" fmla="*/ 810330 h 4876800"/>
                <a:gd name="connsiteX3" fmla="*/ 4152805 w 4876790"/>
                <a:gd name="connsiteY3" fmla="*/ 804882 h 4876800"/>
                <a:gd name="connsiteX4" fmla="*/ 4147357 w 4876790"/>
                <a:gd name="connsiteY4" fmla="*/ 905751 h 4876800"/>
                <a:gd name="connsiteX5" fmla="*/ 4733944 w 4876790"/>
                <a:gd name="connsiteY5" fmla="*/ 2438391 h 4876800"/>
                <a:gd name="connsiteX6" fmla="*/ 4733335 w 4876790"/>
                <a:gd name="connsiteY6" fmla="*/ 2488759 h 4876800"/>
                <a:gd name="connsiteX7" fmla="*/ 4732858 w 4876790"/>
                <a:gd name="connsiteY7" fmla="*/ 2506466 h 4876800"/>
                <a:gd name="connsiteX8" fmla="*/ 4731696 w 4876790"/>
                <a:gd name="connsiteY8" fmla="*/ 2538146 h 4876800"/>
                <a:gd name="connsiteX9" fmla="*/ 4730696 w 4876790"/>
                <a:gd name="connsiteY9" fmla="*/ 2560520 h 4876800"/>
                <a:gd name="connsiteX10" fmla="*/ 4729572 w 4876790"/>
                <a:gd name="connsiteY10" fmla="*/ 2578999 h 4876800"/>
                <a:gd name="connsiteX11" fmla="*/ 4371080 w 4876790"/>
                <a:gd name="connsiteY11" fmla="*/ 3677145 h 4876800"/>
                <a:gd name="connsiteX12" fmla="*/ 4493848 w 4876790"/>
                <a:gd name="connsiteY12" fmla="*/ 3053372 h 4876800"/>
                <a:gd name="connsiteX13" fmla="*/ 4381176 w 4876790"/>
                <a:gd name="connsiteY13" fmla="*/ 2182606 h 4876800"/>
                <a:gd name="connsiteX14" fmla="*/ 3988022 w 4876790"/>
                <a:gd name="connsiteY14" fmla="*/ 2241461 h 4876800"/>
                <a:gd name="connsiteX15" fmla="*/ 3826650 w 4876790"/>
                <a:gd name="connsiteY15" fmla="*/ 2315709 h 4876800"/>
                <a:gd name="connsiteX16" fmla="*/ 3613204 w 4876790"/>
                <a:gd name="connsiteY16" fmla="*/ 2052018 h 4876800"/>
                <a:gd name="connsiteX17" fmla="*/ 3453270 w 4876790"/>
                <a:gd name="connsiteY17" fmla="*/ 1608658 h 4876800"/>
                <a:gd name="connsiteX18" fmla="*/ 3637941 w 4876790"/>
                <a:gd name="connsiteY18" fmla="*/ 1062876 h 4876800"/>
                <a:gd name="connsiteX19" fmla="*/ 3637417 w 4876790"/>
                <a:gd name="connsiteY19" fmla="*/ 982675 h 4876800"/>
                <a:gd name="connsiteX20" fmla="*/ 3569799 w 4876790"/>
                <a:gd name="connsiteY20" fmla="*/ 761543 h 4876800"/>
                <a:gd name="connsiteX21" fmla="*/ 3348866 w 4876790"/>
                <a:gd name="connsiteY21" fmla="*/ 330660 h 4876800"/>
                <a:gd name="connsiteX22" fmla="*/ 3620834 w 4876790"/>
                <a:gd name="connsiteY22" fmla="*/ 470402 h 4876800"/>
                <a:gd name="connsiteX23" fmla="*/ 3622653 w 4876790"/>
                <a:gd name="connsiteY23" fmla="*/ 471373 h 4876800"/>
                <a:gd name="connsiteX24" fmla="*/ 3918385 w 4876790"/>
                <a:gd name="connsiteY24" fmla="*/ 683600 h 4876800"/>
                <a:gd name="connsiteX25" fmla="*/ 4019045 w 4876790"/>
                <a:gd name="connsiteY25" fmla="*/ 675103 h 4876800"/>
                <a:gd name="connsiteX26" fmla="*/ 4010539 w 4876790"/>
                <a:gd name="connsiteY26" fmla="*/ 574443 h 4876800"/>
                <a:gd name="connsiteX27" fmla="*/ 3160338 w 4876790"/>
                <a:gd name="connsiteY27" fmla="*/ 108690 h 4876800"/>
                <a:gd name="connsiteX28" fmla="*/ 3156652 w 4876790"/>
                <a:gd name="connsiteY28" fmla="*/ 107871 h 4876800"/>
                <a:gd name="connsiteX29" fmla="*/ 2438400 w 4876790"/>
                <a:gd name="connsiteY29" fmla="*/ 0 h 4876800"/>
                <a:gd name="connsiteX30" fmla="*/ 2363438 w 4876790"/>
                <a:gd name="connsiteY30" fmla="*/ 1257 h 4876800"/>
                <a:gd name="connsiteX31" fmla="*/ 2355304 w 4876790"/>
                <a:gd name="connsiteY31" fmla="*/ 1553 h 4876800"/>
                <a:gd name="connsiteX32" fmla="*/ 2293334 w 4876790"/>
                <a:gd name="connsiteY32" fmla="*/ 4391 h 4876800"/>
                <a:gd name="connsiteX33" fmla="*/ 2287419 w 4876790"/>
                <a:gd name="connsiteY33" fmla="*/ 4753 h 4876800"/>
                <a:gd name="connsiteX34" fmla="*/ 714204 w 4876790"/>
                <a:gd name="connsiteY34" fmla="*/ 714194 h 4876800"/>
                <a:gd name="connsiteX35" fmla="*/ 0 w 4876790"/>
                <a:gd name="connsiteY35" fmla="*/ 2438400 h 4876800"/>
                <a:gd name="connsiteX36" fmla="*/ 573729 w 4876790"/>
                <a:gd name="connsiteY36" fmla="*/ 4009720 h 4876800"/>
                <a:gd name="connsiteX37" fmla="*/ 628364 w 4876790"/>
                <a:gd name="connsiteY37" fmla="*/ 4035095 h 4876800"/>
                <a:gd name="connsiteX38" fmla="*/ 674389 w 4876790"/>
                <a:gd name="connsiteY38" fmla="*/ 4018264 h 4876800"/>
                <a:gd name="connsiteX39" fmla="*/ 682923 w 4876790"/>
                <a:gd name="connsiteY39" fmla="*/ 3917604 h 4876800"/>
                <a:gd name="connsiteX40" fmla="*/ 142875 w 4876790"/>
                <a:gd name="connsiteY40" fmla="*/ 2438400 h 4876800"/>
                <a:gd name="connsiteX41" fmla="*/ 168088 w 4876790"/>
                <a:gd name="connsiteY41" fmla="*/ 2096062 h 4876800"/>
                <a:gd name="connsiteX42" fmla="*/ 168583 w 4876790"/>
                <a:gd name="connsiteY42" fmla="*/ 2098367 h 4876800"/>
                <a:gd name="connsiteX43" fmla="*/ 173927 w 4876790"/>
                <a:gd name="connsiteY43" fmla="*/ 2121399 h 4876800"/>
                <a:gd name="connsiteX44" fmla="*/ 1074953 w 4876790"/>
                <a:gd name="connsiteY44" fmla="*/ 2895781 h 4876800"/>
                <a:gd name="connsiteX45" fmla="*/ 1137104 w 4876790"/>
                <a:gd name="connsiteY45" fmla="*/ 2925166 h 4876800"/>
                <a:gd name="connsiteX46" fmla="*/ 1059466 w 4876790"/>
                <a:gd name="connsiteY46" fmla="*/ 3231833 h 4876800"/>
                <a:gd name="connsiteX47" fmla="*/ 1336862 w 4876790"/>
                <a:gd name="connsiteY47" fmla="*/ 3812553 h 4876800"/>
                <a:gd name="connsiteX48" fmla="*/ 1697774 w 4876790"/>
                <a:gd name="connsiteY48" fmla="*/ 4460663 h 4876800"/>
                <a:gd name="connsiteX49" fmla="*/ 1683896 w 4876790"/>
                <a:gd name="connsiteY49" fmla="*/ 4606576 h 4876800"/>
                <a:gd name="connsiteX50" fmla="*/ 906675 w 4876790"/>
                <a:gd name="connsiteY50" fmla="*/ 4148195 h 4876800"/>
                <a:gd name="connsiteX51" fmla="*/ 805796 w 4876790"/>
                <a:gd name="connsiteY51" fmla="*/ 4153700 h 4876800"/>
                <a:gd name="connsiteX52" fmla="*/ 811301 w 4876790"/>
                <a:gd name="connsiteY52" fmla="*/ 4254570 h 4876800"/>
                <a:gd name="connsiteX53" fmla="*/ 1729121 w 4876790"/>
                <a:gd name="connsiteY53" fmla="*/ 4771606 h 4876800"/>
                <a:gd name="connsiteX54" fmla="*/ 1731845 w 4876790"/>
                <a:gd name="connsiteY54" fmla="*/ 4772673 h 4876800"/>
                <a:gd name="connsiteX55" fmla="*/ 1825285 w 4876790"/>
                <a:gd name="connsiteY55" fmla="*/ 4798657 h 4876800"/>
                <a:gd name="connsiteX56" fmla="*/ 1834353 w 4876790"/>
                <a:gd name="connsiteY56" fmla="*/ 4801010 h 4876800"/>
                <a:gd name="connsiteX57" fmla="*/ 1877959 w 4876790"/>
                <a:gd name="connsiteY57" fmla="*/ 4811687 h 4876800"/>
                <a:gd name="connsiteX58" fmla="*/ 1893046 w 4876790"/>
                <a:gd name="connsiteY58" fmla="*/ 4815173 h 4876800"/>
                <a:gd name="connsiteX59" fmla="*/ 1933089 w 4876790"/>
                <a:gd name="connsiteY59" fmla="*/ 4824013 h 4876800"/>
                <a:gd name="connsiteX60" fmla="*/ 1953139 w 4876790"/>
                <a:gd name="connsiteY60" fmla="*/ 4828099 h 4876800"/>
                <a:gd name="connsiteX61" fmla="*/ 1989725 w 4876790"/>
                <a:gd name="connsiteY61" fmla="*/ 4835300 h 4876800"/>
                <a:gd name="connsiteX62" fmla="*/ 2017205 w 4876790"/>
                <a:gd name="connsiteY62" fmla="*/ 4840148 h 4876800"/>
                <a:gd name="connsiteX63" fmla="*/ 2047294 w 4876790"/>
                <a:gd name="connsiteY63" fmla="*/ 4845368 h 4876800"/>
                <a:gd name="connsiteX64" fmla="*/ 2105244 w 4876790"/>
                <a:gd name="connsiteY64" fmla="*/ 4854026 h 4876800"/>
                <a:gd name="connsiteX65" fmla="*/ 2119579 w 4876790"/>
                <a:gd name="connsiteY65" fmla="*/ 4855845 h 4876800"/>
                <a:gd name="connsiteX66" fmla="*/ 2166776 w 4876790"/>
                <a:gd name="connsiteY66" fmla="*/ 4861627 h 4876800"/>
                <a:gd name="connsiteX67" fmla="*/ 2182235 w 4876790"/>
                <a:gd name="connsiteY67" fmla="*/ 4863227 h 4876800"/>
                <a:gd name="connsiteX68" fmla="*/ 2229660 w 4876790"/>
                <a:gd name="connsiteY68" fmla="*/ 4867780 h 4876800"/>
                <a:gd name="connsiteX69" fmla="*/ 2235099 w 4876790"/>
                <a:gd name="connsiteY69" fmla="*/ 4868304 h 4876800"/>
                <a:gd name="connsiteX70" fmla="*/ 2237242 w 4876790"/>
                <a:gd name="connsiteY70" fmla="*/ 4868390 h 4876800"/>
                <a:gd name="connsiteX71" fmla="*/ 2438400 w 4876790"/>
                <a:gd name="connsiteY71" fmla="*/ 4876800 h 4876800"/>
                <a:gd name="connsiteX72" fmla="*/ 4162606 w 4876790"/>
                <a:gd name="connsiteY72" fmla="*/ 4162606 h 4876800"/>
                <a:gd name="connsiteX73" fmla="*/ 4870942 w 4876790"/>
                <a:gd name="connsiteY73" fmla="*/ 2607317 h 4876800"/>
                <a:gd name="connsiteX74" fmla="*/ 4871419 w 4876790"/>
                <a:gd name="connsiteY74" fmla="*/ 2599544 h 4876800"/>
                <a:gd name="connsiteX75" fmla="*/ 4874095 w 4876790"/>
                <a:gd name="connsiteY75" fmla="*/ 2552643 h 4876800"/>
                <a:gd name="connsiteX76" fmla="*/ 4874962 w 4876790"/>
                <a:gd name="connsiteY76" fmla="*/ 2529078 h 4876800"/>
                <a:gd name="connsiteX77" fmla="*/ 4876086 w 4876790"/>
                <a:gd name="connsiteY77" fmla="*/ 2496303 h 4876800"/>
                <a:gd name="connsiteX78" fmla="*/ 4876791 w 4876790"/>
                <a:gd name="connsiteY78" fmla="*/ 2438410 h 4876800"/>
                <a:gd name="connsiteX79" fmla="*/ 4711027 w 4876790"/>
                <a:gd name="connsiteY79" fmla="*/ 1552908 h 4876800"/>
                <a:gd name="connsiteX80" fmla="*/ 1732464 w 4876790"/>
                <a:gd name="connsiteY80" fmla="*/ 253060 h 4876800"/>
                <a:gd name="connsiteX81" fmla="*/ 1639672 w 4876790"/>
                <a:gd name="connsiteY81" fmla="*/ 391735 h 4876800"/>
                <a:gd name="connsiteX82" fmla="*/ 1572635 w 4876790"/>
                <a:gd name="connsiteY82" fmla="*/ 457371 h 4876800"/>
                <a:gd name="connsiteX83" fmla="*/ 1468803 w 4876790"/>
                <a:gd name="connsiteY83" fmla="*/ 356492 h 4876800"/>
                <a:gd name="connsiteX84" fmla="*/ 1732464 w 4876790"/>
                <a:gd name="connsiteY84" fmla="*/ 253060 h 4876800"/>
                <a:gd name="connsiteX85" fmla="*/ 2308422 w 4876790"/>
                <a:gd name="connsiteY85" fmla="*/ 4663193 h 4876800"/>
                <a:gd name="connsiteX86" fmla="*/ 2220973 w 4876790"/>
                <a:gd name="connsiteY86" fmla="*/ 4723610 h 4876800"/>
                <a:gd name="connsiteX87" fmla="*/ 2210076 w 4876790"/>
                <a:gd name="connsiteY87" fmla="*/ 4722486 h 4876800"/>
                <a:gd name="connsiteX88" fmla="*/ 2172129 w 4876790"/>
                <a:gd name="connsiteY88" fmla="*/ 4718495 h 4876800"/>
                <a:gd name="connsiteX89" fmla="*/ 2135715 w 4876790"/>
                <a:gd name="connsiteY89" fmla="*/ 4713885 h 4876800"/>
                <a:gd name="connsiteX90" fmla="*/ 2122361 w 4876790"/>
                <a:gd name="connsiteY90" fmla="*/ 4712180 h 4876800"/>
                <a:gd name="connsiteX91" fmla="*/ 1824781 w 4876790"/>
                <a:gd name="connsiteY91" fmla="*/ 4650572 h 4876800"/>
                <a:gd name="connsiteX92" fmla="*/ 1839516 w 4876790"/>
                <a:gd name="connsiteY92" fmla="*/ 4478703 h 4876800"/>
                <a:gd name="connsiteX93" fmla="*/ 1400775 w 4876790"/>
                <a:gd name="connsiteY93" fmla="*/ 3684765 h 4876800"/>
                <a:gd name="connsiteX94" fmla="*/ 1201179 w 4876790"/>
                <a:gd name="connsiteY94" fmla="*/ 3250454 h 4876800"/>
                <a:gd name="connsiteX95" fmla="*/ 1290790 w 4876790"/>
                <a:gd name="connsiteY95" fmla="*/ 2928661 h 4876800"/>
                <a:gd name="connsiteX96" fmla="*/ 1295124 w 4876790"/>
                <a:gd name="connsiteY96" fmla="*/ 2917317 h 4876800"/>
                <a:gd name="connsiteX97" fmla="*/ 1228487 w 4876790"/>
                <a:gd name="connsiteY97" fmla="*/ 2811170 h 4876800"/>
                <a:gd name="connsiteX98" fmla="*/ 1135485 w 4876790"/>
                <a:gd name="connsiteY98" fmla="*/ 2766365 h 4876800"/>
                <a:gd name="connsiteX99" fmla="*/ 312877 w 4876790"/>
                <a:gd name="connsiteY99" fmla="*/ 2088109 h 4876800"/>
                <a:gd name="connsiteX100" fmla="*/ 307981 w 4876790"/>
                <a:gd name="connsiteY100" fmla="*/ 2067039 h 4876800"/>
                <a:gd name="connsiteX101" fmla="*/ 396450 w 4876790"/>
                <a:gd name="connsiteY101" fmla="*/ 1388707 h 4876800"/>
                <a:gd name="connsiteX102" fmla="*/ 1340663 w 4876790"/>
                <a:gd name="connsiteY102" fmla="*/ 421977 h 4876800"/>
                <a:gd name="connsiteX103" fmla="*/ 1515542 w 4876790"/>
                <a:gd name="connsiteY103" fmla="*/ 588445 h 4876800"/>
                <a:gd name="connsiteX104" fmla="*/ 1729159 w 4876790"/>
                <a:gd name="connsiteY104" fmla="*/ 508025 h 4876800"/>
                <a:gd name="connsiteX105" fmla="*/ 1874530 w 4876790"/>
                <a:gd name="connsiteY105" fmla="*/ 294961 h 4876800"/>
                <a:gd name="connsiteX106" fmla="*/ 1935232 w 4876790"/>
                <a:gd name="connsiteY106" fmla="*/ 198301 h 4876800"/>
                <a:gd name="connsiteX107" fmla="*/ 2380574 w 4876790"/>
                <a:gd name="connsiteY107" fmla="*/ 143666 h 4876800"/>
                <a:gd name="connsiteX108" fmla="*/ 2279837 w 4876790"/>
                <a:gd name="connsiteY108" fmla="*/ 558975 h 4876800"/>
                <a:gd name="connsiteX109" fmla="*/ 2116874 w 4876790"/>
                <a:gd name="connsiteY109" fmla="*/ 595322 h 4876800"/>
                <a:gd name="connsiteX110" fmla="*/ 1918087 w 4876790"/>
                <a:gd name="connsiteY110" fmla="*/ 653472 h 4876800"/>
                <a:gd name="connsiteX111" fmla="*/ 1889303 w 4876790"/>
                <a:gd name="connsiteY111" fmla="*/ 789756 h 4876800"/>
                <a:gd name="connsiteX112" fmla="*/ 1831915 w 4876790"/>
                <a:gd name="connsiteY112" fmla="*/ 877729 h 4876800"/>
                <a:gd name="connsiteX113" fmla="*/ 1505407 w 4876790"/>
                <a:gd name="connsiteY113" fmla="*/ 1238736 h 4876800"/>
                <a:gd name="connsiteX114" fmla="*/ 1499321 w 4876790"/>
                <a:gd name="connsiteY114" fmla="*/ 1250042 h 4876800"/>
                <a:gd name="connsiteX115" fmla="*/ 1434903 w 4876790"/>
                <a:gd name="connsiteY115" fmla="*/ 1276188 h 4876800"/>
                <a:gd name="connsiteX116" fmla="*/ 1223944 w 4876790"/>
                <a:gd name="connsiteY116" fmla="*/ 1454820 h 4876800"/>
                <a:gd name="connsiteX117" fmla="*/ 1197016 w 4876790"/>
                <a:gd name="connsiteY117" fmla="*/ 1566872 h 4876800"/>
                <a:gd name="connsiteX118" fmla="*/ 1128103 w 4876790"/>
                <a:gd name="connsiteY118" fmla="*/ 1759191 h 4876800"/>
                <a:gd name="connsiteX119" fmla="*/ 1113149 w 4876790"/>
                <a:gd name="connsiteY119" fmla="*/ 1704632 h 4876800"/>
                <a:gd name="connsiteX120" fmla="*/ 968931 w 4876790"/>
                <a:gd name="connsiteY120" fmla="*/ 1476204 h 4876800"/>
                <a:gd name="connsiteX121" fmla="*/ 793223 w 4876790"/>
                <a:gd name="connsiteY121" fmla="*/ 1455849 h 4876800"/>
                <a:gd name="connsiteX122" fmla="*/ 605257 w 4876790"/>
                <a:gd name="connsiteY122" fmla="*/ 1670476 h 4876800"/>
                <a:gd name="connsiteX123" fmla="*/ 654920 w 4876790"/>
                <a:gd name="connsiteY123" fmla="*/ 1971513 h 4876800"/>
                <a:gd name="connsiteX124" fmla="*/ 728405 w 4876790"/>
                <a:gd name="connsiteY124" fmla="*/ 2256358 h 4876800"/>
                <a:gd name="connsiteX125" fmla="*/ 860460 w 4876790"/>
                <a:gd name="connsiteY125" fmla="*/ 2467699 h 4876800"/>
                <a:gd name="connsiteX126" fmla="*/ 1223410 w 4876790"/>
                <a:gd name="connsiteY126" fmla="*/ 2655703 h 4876800"/>
                <a:gd name="connsiteX127" fmla="*/ 1584912 w 4876790"/>
                <a:gd name="connsiteY127" fmla="*/ 2682097 h 4876800"/>
                <a:gd name="connsiteX128" fmla="*/ 1993764 w 4876790"/>
                <a:gd name="connsiteY128" fmla="*/ 2686822 h 4876800"/>
                <a:gd name="connsiteX129" fmla="*/ 2360571 w 4876790"/>
                <a:gd name="connsiteY129" fmla="*/ 2975039 h 4876800"/>
                <a:gd name="connsiteX130" fmla="*/ 2756754 w 4876790"/>
                <a:gd name="connsiteY130" fmla="*/ 3230128 h 4876800"/>
                <a:gd name="connsiteX131" fmla="*/ 3330083 w 4876790"/>
                <a:gd name="connsiteY131" fmla="*/ 3509763 h 4876800"/>
                <a:gd name="connsiteX132" fmla="*/ 2986783 w 4876790"/>
                <a:gd name="connsiteY132" fmla="*/ 3966153 h 4876800"/>
                <a:gd name="connsiteX133" fmla="*/ 2676354 w 4876790"/>
                <a:gd name="connsiteY133" fmla="*/ 4313377 h 4876800"/>
                <a:gd name="connsiteX134" fmla="*/ 2308422 w 4876790"/>
                <a:gd name="connsiteY134" fmla="*/ 4663193 h 4876800"/>
                <a:gd name="connsiteX135" fmla="*/ 4142651 w 4876790"/>
                <a:gd name="connsiteY135" fmla="*/ 3976326 h 4876800"/>
                <a:gd name="connsiteX136" fmla="*/ 4061593 w 4876790"/>
                <a:gd name="connsiteY136" fmla="*/ 4061593 h 4876800"/>
                <a:gd name="connsiteX137" fmla="*/ 2458050 w 4876790"/>
                <a:gd name="connsiteY137" fmla="*/ 4733697 h 4876800"/>
                <a:gd name="connsiteX138" fmla="*/ 2814266 w 4876790"/>
                <a:gd name="connsiteY138" fmla="*/ 4350668 h 4876800"/>
                <a:gd name="connsiteX139" fmla="*/ 3076699 w 4876790"/>
                <a:gd name="connsiteY139" fmla="*/ 4077195 h 4876800"/>
                <a:gd name="connsiteX140" fmla="*/ 3471472 w 4876790"/>
                <a:gd name="connsiteY140" fmla="*/ 3489398 h 4876800"/>
                <a:gd name="connsiteX141" fmla="*/ 3214783 w 4876790"/>
                <a:gd name="connsiteY141" fmla="*/ 3228194 h 4876800"/>
                <a:gd name="connsiteX142" fmla="*/ 2760078 w 4876790"/>
                <a:gd name="connsiteY142" fmla="*/ 3087329 h 4876800"/>
                <a:gd name="connsiteX143" fmla="*/ 2760069 w 4876790"/>
                <a:gd name="connsiteY143" fmla="*/ 3087329 h 4876800"/>
                <a:gd name="connsiteX144" fmla="*/ 2458803 w 4876790"/>
                <a:gd name="connsiteY144" fmla="*/ 2871330 h 4876800"/>
                <a:gd name="connsiteX145" fmla="*/ 1520247 w 4876790"/>
                <a:gd name="connsiteY145" fmla="*/ 2554729 h 4876800"/>
                <a:gd name="connsiteX146" fmla="*/ 1173099 w 4876790"/>
                <a:gd name="connsiteY146" fmla="*/ 2482358 h 4876800"/>
                <a:gd name="connsiteX147" fmla="*/ 869804 w 4876790"/>
                <a:gd name="connsiteY147" fmla="*/ 2277418 h 4876800"/>
                <a:gd name="connsiteX148" fmla="*/ 772582 w 4876790"/>
                <a:gd name="connsiteY148" fmla="*/ 1890522 h 4876800"/>
                <a:gd name="connsiteX149" fmla="*/ 734044 w 4876790"/>
                <a:gd name="connsiteY149" fmla="*/ 1732321 h 4876800"/>
                <a:gd name="connsiteX150" fmla="*/ 838657 w 4876790"/>
                <a:gd name="connsiteY150" fmla="*/ 1591313 h 4876800"/>
                <a:gd name="connsiteX151" fmla="*/ 903484 w 4876790"/>
                <a:gd name="connsiteY151" fmla="*/ 1603229 h 4876800"/>
                <a:gd name="connsiteX152" fmla="*/ 973988 w 4876790"/>
                <a:gd name="connsiteY152" fmla="*/ 1737055 h 4876800"/>
                <a:gd name="connsiteX153" fmla="*/ 1127674 w 4876790"/>
                <a:gd name="connsiteY153" fmla="*/ 1903895 h 4876800"/>
                <a:gd name="connsiteX154" fmla="*/ 1336510 w 4876790"/>
                <a:gd name="connsiteY154" fmla="*/ 1597638 h 4876800"/>
                <a:gd name="connsiteX155" fmla="*/ 1361446 w 4876790"/>
                <a:gd name="connsiteY155" fmla="*/ 1493539 h 4876800"/>
                <a:gd name="connsiteX156" fmla="*/ 1474441 w 4876790"/>
                <a:gd name="connsiteY156" fmla="*/ 1413491 h 4876800"/>
                <a:gd name="connsiteX157" fmla="*/ 1625041 w 4876790"/>
                <a:gd name="connsiteY157" fmla="*/ 1317879 h 4876800"/>
                <a:gd name="connsiteX158" fmla="*/ 1631271 w 4876790"/>
                <a:gd name="connsiteY158" fmla="*/ 1306268 h 4876800"/>
                <a:gd name="connsiteX159" fmla="*/ 1902028 w 4876790"/>
                <a:gd name="connsiteY159" fmla="*/ 1002202 h 4876800"/>
                <a:gd name="connsiteX160" fmla="*/ 2026720 w 4876790"/>
                <a:gd name="connsiteY160" fmla="*/ 874738 h 4876800"/>
                <a:gd name="connsiteX161" fmla="*/ 2028854 w 4876790"/>
                <a:gd name="connsiteY161" fmla="*/ 759324 h 4876800"/>
                <a:gd name="connsiteX162" fmla="*/ 2027368 w 4876790"/>
                <a:gd name="connsiteY162" fmla="*/ 752408 h 4876800"/>
                <a:gd name="connsiteX163" fmla="*/ 2131085 w 4876790"/>
                <a:gd name="connsiteY163" fmla="*/ 737492 h 4876800"/>
                <a:gd name="connsiteX164" fmla="*/ 2397995 w 4876790"/>
                <a:gd name="connsiteY164" fmla="*/ 639261 h 4876800"/>
                <a:gd name="connsiteX165" fmla="*/ 2526526 w 4876790"/>
                <a:gd name="connsiteY165" fmla="*/ 144618 h 4876800"/>
                <a:gd name="connsiteX166" fmla="*/ 3097540 w 4876790"/>
                <a:gd name="connsiteY166" fmla="*/ 239230 h 4876800"/>
                <a:gd name="connsiteX167" fmla="*/ 3429267 w 4876790"/>
                <a:gd name="connsiteY167" fmla="*/ 735682 h 4876800"/>
                <a:gd name="connsiteX168" fmla="*/ 3494551 w 4876790"/>
                <a:gd name="connsiteY168" fmla="*/ 1022842 h 4876800"/>
                <a:gd name="connsiteX169" fmla="*/ 3310557 w 4876790"/>
                <a:gd name="connsiteY169" fmla="*/ 1615469 h 4876800"/>
                <a:gd name="connsiteX170" fmla="*/ 3493437 w 4876790"/>
                <a:gd name="connsiteY170" fmla="*/ 2130381 h 4876800"/>
                <a:gd name="connsiteX171" fmla="*/ 3803276 w 4876790"/>
                <a:gd name="connsiteY171" fmla="*/ 2456659 h 4876800"/>
                <a:gd name="connsiteX172" fmla="*/ 4060136 w 4876790"/>
                <a:gd name="connsiteY172" fmla="*/ 2364800 h 4876800"/>
                <a:gd name="connsiteX173" fmla="*/ 4283517 w 4876790"/>
                <a:gd name="connsiteY173" fmla="*/ 2286924 h 4876800"/>
                <a:gd name="connsiteX174" fmla="*/ 4352278 w 4876790"/>
                <a:gd name="connsiteY174" fmla="*/ 3034113 h 4876800"/>
                <a:gd name="connsiteX175" fmla="*/ 4142651 w 4876790"/>
                <a:gd name="connsiteY175" fmla="*/ 3976326 h 487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4876790" h="4876800">
                  <a:moveTo>
                    <a:pt x="4711027" y="1552908"/>
                  </a:moveTo>
                  <a:cubicBezTo>
                    <a:pt x="4710046" y="1550394"/>
                    <a:pt x="4708922" y="1547994"/>
                    <a:pt x="4707693" y="1545650"/>
                  </a:cubicBezTo>
                  <a:cubicBezTo>
                    <a:pt x="4602337" y="1277798"/>
                    <a:pt x="4449528" y="1028538"/>
                    <a:pt x="4253684" y="810330"/>
                  </a:cubicBezTo>
                  <a:cubicBezTo>
                    <a:pt x="4227338" y="780964"/>
                    <a:pt x="4182190" y="778507"/>
                    <a:pt x="4152805" y="804882"/>
                  </a:cubicBezTo>
                  <a:cubicBezTo>
                    <a:pt x="4123449" y="831228"/>
                    <a:pt x="4121001" y="876395"/>
                    <a:pt x="4147357" y="905751"/>
                  </a:cubicBezTo>
                  <a:cubicBezTo>
                    <a:pt x="4525623" y="1327223"/>
                    <a:pt x="4733944" y="1871529"/>
                    <a:pt x="4733944" y="2438391"/>
                  </a:cubicBezTo>
                  <a:cubicBezTo>
                    <a:pt x="4733944" y="2455212"/>
                    <a:pt x="4733687" y="2471995"/>
                    <a:pt x="4733335" y="2488759"/>
                  </a:cubicBezTo>
                  <a:cubicBezTo>
                    <a:pt x="4733211" y="2494664"/>
                    <a:pt x="4733030" y="2500560"/>
                    <a:pt x="4732858" y="2506466"/>
                  </a:cubicBezTo>
                  <a:cubicBezTo>
                    <a:pt x="4732554" y="2517039"/>
                    <a:pt x="4732144" y="2527602"/>
                    <a:pt x="4731696" y="2538146"/>
                  </a:cubicBezTo>
                  <a:cubicBezTo>
                    <a:pt x="4731372" y="2545604"/>
                    <a:pt x="4731087" y="2553072"/>
                    <a:pt x="4730696" y="2560520"/>
                  </a:cubicBezTo>
                  <a:cubicBezTo>
                    <a:pt x="4730373" y="2566692"/>
                    <a:pt x="4729944" y="2572836"/>
                    <a:pt x="4729572" y="2578999"/>
                  </a:cubicBezTo>
                  <a:cubicBezTo>
                    <a:pt x="4705598" y="2971209"/>
                    <a:pt x="4581773" y="3348771"/>
                    <a:pt x="4371080" y="3677145"/>
                  </a:cubicBezTo>
                  <a:cubicBezTo>
                    <a:pt x="4417219" y="3489970"/>
                    <a:pt x="4464387" y="3269523"/>
                    <a:pt x="4493848" y="3053372"/>
                  </a:cubicBezTo>
                  <a:cubicBezTo>
                    <a:pt x="4556093" y="2596687"/>
                    <a:pt x="4519232" y="2311860"/>
                    <a:pt x="4381176" y="2182606"/>
                  </a:cubicBezTo>
                  <a:cubicBezTo>
                    <a:pt x="4268667" y="2077269"/>
                    <a:pt x="4113067" y="2168319"/>
                    <a:pt x="3988022" y="2241461"/>
                  </a:cubicBezTo>
                  <a:cubicBezTo>
                    <a:pt x="3937759" y="2270865"/>
                    <a:pt x="3853577" y="2320033"/>
                    <a:pt x="3826650" y="2315709"/>
                  </a:cubicBezTo>
                  <a:cubicBezTo>
                    <a:pt x="3803666" y="2309784"/>
                    <a:pt x="3718027" y="2235146"/>
                    <a:pt x="3613204" y="2052018"/>
                  </a:cubicBezTo>
                  <a:cubicBezTo>
                    <a:pt x="3519811" y="1888855"/>
                    <a:pt x="3458528" y="1718967"/>
                    <a:pt x="3453270" y="1608658"/>
                  </a:cubicBezTo>
                  <a:cubicBezTo>
                    <a:pt x="3441459" y="1360665"/>
                    <a:pt x="3635997" y="1065781"/>
                    <a:pt x="3637941" y="1062876"/>
                  </a:cubicBezTo>
                  <a:cubicBezTo>
                    <a:pt x="3654171" y="1038606"/>
                    <a:pt x="3653914" y="1006773"/>
                    <a:pt x="3637417" y="982675"/>
                  </a:cubicBezTo>
                  <a:cubicBezTo>
                    <a:pt x="3613118" y="947204"/>
                    <a:pt x="3553635" y="838324"/>
                    <a:pt x="3569799" y="761543"/>
                  </a:cubicBezTo>
                  <a:cubicBezTo>
                    <a:pt x="3577295" y="725957"/>
                    <a:pt x="3591640" y="657635"/>
                    <a:pt x="3348866" y="330660"/>
                  </a:cubicBezTo>
                  <a:cubicBezTo>
                    <a:pt x="3442297" y="370999"/>
                    <a:pt x="3533175" y="417624"/>
                    <a:pt x="3620834" y="470402"/>
                  </a:cubicBezTo>
                  <a:cubicBezTo>
                    <a:pt x="3621434" y="470764"/>
                    <a:pt x="3622053" y="471040"/>
                    <a:pt x="3622653" y="471373"/>
                  </a:cubicBezTo>
                  <a:cubicBezTo>
                    <a:pt x="3726009" y="533791"/>
                    <a:pt x="3824773" y="604571"/>
                    <a:pt x="3918385" y="683600"/>
                  </a:cubicBezTo>
                  <a:cubicBezTo>
                    <a:pt x="3948522" y="709070"/>
                    <a:pt x="3993594" y="705241"/>
                    <a:pt x="4019045" y="675103"/>
                  </a:cubicBezTo>
                  <a:cubicBezTo>
                    <a:pt x="4044496" y="644957"/>
                    <a:pt x="4040686" y="599894"/>
                    <a:pt x="4010539" y="574443"/>
                  </a:cubicBezTo>
                  <a:cubicBezTo>
                    <a:pt x="3759165" y="362207"/>
                    <a:pt x="3473111" y="205502"/>
                    <a:pt x="3160338" y="108690"/>
                  </a:cubicBezTo>
                  <a:cubicBezTo>
                    <a:pt x="3159119" y="108309"/>
                    <a:pt x="3157871" y="108175"/>
                    <a:pt x="3156652" y="107871"/>
                  </a:cubicBezTo>
                  <a:cubicBezTo>
                    <a:pt x="2925318" y="36738"/>
                    <a:pt x="2683297" y="0"/>
                    <a:pt x="2438400" y="0"/>
                  </a:cubicBezTo>
                  <a:cubicBezTo>
                    <a:pt x="2413340" y="0"/>
                    <a:pt x="2388365" y="505"/>
                    <a:pt x="2363438" y="1257"/>
                  </a:cubicBezTo>
                  <a:cubicBezTo>
                    <a:pt x="2360724" y="1343"/>
                    <a:pt x="2358019" y="1467"/>
                    <a:pt x="2355304" y="1553"/>
                  </a:cubicBezTo>
                  <a:cubicBezTo>
                    <a:pt x="2334597" y="2238"/>
                    <a:pt x="2313947" y="3191"/>
                    <a:pt x="2293334" y="4391"/>
                  </a:cubicBezTo>
                  <a:cubicBezTo>
                    <a:pt x="2291363" y="4505"/>
                    <a:pt x="2289391" y="4629"/>
                    <a:pt x="2287419" y="4753"/>
                  </a:cubicBezTo>
                  <a:cubicBezTo>
                    <a:pt x="1692916" y="40834"/>
                    <a:pt x="1138981" y="289408"/>
                    <a:pt x="714204" y="714194"/>
                  </a:cubicBezTo>
                  <a:cubicBezTo>
                    <a:pt x="253651" y="1174747"/>
                    <a:pt x="0" y="1787081"/>
                    <a:pt x="0" y="2438400"/>
                  </a:cubicBezTo>
                  <a:cubicBezTo>
                    <a:pt x="0" y="3013082"/>
                    <a:pt x="203759" y="3571113"/>
                    <a:pt x="573729" y="4009720"/>
                  </a:cubicBezTo>
                  <a:cubicBezTo>
                    <a:pt x="587854" y="4026475"/>
                    <a:pt x="608038" y="4035095"/>
                    <a:pt x="628364" y="4035095"/>
                  </a:cubicBezTo>
                  <a:cubicBezTo>
                    <a:pt x="644623" y="4035095"/>
                    <a:pt x="660987" y="4029570"/>
                    <a:pt x="674389" y="4018264"/>
                  </a:cubicBezTo>
                  <a:cubicBezTo>
                    <a:pt x="704545" y="3992823"/>
                    <a:pt x="708365" y="3947760"/>
                    <a:pt x="682923" y="3917604"/>
                  </a:cubicBezTo>
                  <a:cubicBezTo>
                    <a:pt x="334661" y="3504733"/>
                    <a:pt x="142875" y="2979411"/>
                    <a:pt x="142875" y="2438400"/>
                  </a:cubicBezTo>
                  <a:cubicBezTo>
                    <a:pt x="142875" y="2322738"/>
                    <a:pt x="151390" y="2208390"/>
                    <a:pt x="168088" y="2096062"/>
                  </a:cubicBezTo>
                  <a:cubicBezTo>
                    <a:pt x="168259" y="2096834"/>
                    <a:pt x="168412" y="2097605"/>
                    <a:pt x="168583" y="2098367"/>
                  </a:cubicBezTo>
                  <a:cubicBezTo>
                    <a:pt x="170278" y="2105930"/>
                    <a:pt x="172060" y="2113588"/>
                    <a:pt x="173927" y="2121399"/>
                  </a:cubicBezTo>
                  <a:cubicBezTo>
                    <a:pt x="269405" y="2519115"/>
                    <a:pt x="813483" y="2773518"/>
                    <a:pt x="1074953" y="2895781"/>
                  </a:cubicBezTo>
                  <a:cubicBezTo>
                    <a:pt x="1096013" y="2905630"/>
                    <a:pt x="1118445" y="2916117"/>
                    <a:pt x="1137104" y="2925166"/>
                  </a:cubicBezTo>
                  <a:cubicBezTo>
                    <a:pt x="1111396" y="2990812"/>
                    <a:pt x="1073315" y="3104636"/>
                    <a:pt x="1059466" y="3231833"/>
                  </a:cubicBezTo>
                  <a:cubicBezTo>
                    <a:pt x="1029614" y="3506086"/>
                    <a:pt x="1125541" y="3706892"/>
                    <a:pt x="1336862" y="3812553"/>
                  </a:cubicBezTo>
                  <a:cubicBezTo>
                    <a:pt x="1753753" y="4020998"/>
                    <a:pt x="1739656" y="4131783"/>
                    <a:pt x="1697774" y="4460663"/>
                  </a:cubicBezTo>
                  <a:cubicBezTo>
                    <a:pt x="1691135" y="4512879"/>
                    <a:pt x="1686573" y="4561161"/>
                    <a:pt x="1683896" y="4606576"/>
                  </a:cubicBezTo>
                  <a:cubicBezTo>
                    <a:pt x="1399451" y="4507659"/>
                    <a:pt x="1135028" y="4352916"/>
                    <a:pt x="906675" y="4148195"/>
                  </a:cubicBezTo>
                  <a:cubicBezTo>
                    <a:pt x="877281" y="4121868"/>
                    <a:pt x="832133" y="4124344"/>
                    <a:pt x="805796" y="4153700"/>
                  </a:cubicBezTo>
                  <a:cubicBezTo>
                    <a:pt x="779469" y="4183075"/>
                    <a:pt x="781926" y="4228233"/>
                    <a:pt x="811301" y="4254570"/>
                  </a:cubicBezTo>
                  <a:cubicBezTo>
                    <a:pt x="1078392" y="4494010"/>
                    <a:pt x="1391879" y="4669203"/>
                    <a:pt x="1729121" y="4771606"/>
                  </a:cubicBezTo>
                  <a:cubicBezTo>
                    <a:pt x="1730045" y="4771930"/>
                    <a:pt x="1730893" y="4772387"/>
                    <a:pt x="1731845" y="4772673"/>
                  </a:cubicBezTo>
                  <a:cubicBezTo>
                    <a:pt x="1762763" y="4782017"/>
                    <a:pt x="1793967" y="4790551"/>
                    <a:pt x="1825285" y="4798657"/>
                  </a:cubicBezTo>
                  <a:cubicBezTo>
                    <a:pt x="1828305" y="4799438"/>
                    <a:pt x="1831324" y="4800238"/>
                    <a:pt x="1834353" y="4801010"/>
                  </a:cubicBezTo>
                  <a:cubicBezTo>
                    <a:pt x="1848850" y="4804706"/>
                    <a:pt x="1863385" y="4808258"/>
                    <a:pt x="1877959" y="4811687"/>
                  </a:cubicBezTo>
                  <a:cubicBezTo>
                    <a:pt x="1882988" y="4812868"/>
                    <a:pt x="1888017" y="4814021"/>
                    <a:pt x="1893046" y="4815173"/>
                  </a:cubicBezTo>
                  <a:cubicBezTo>
                    <a:pt x="1906372" y="4818222"/>
                    <a:pt x="1919707" y="4821193"/>
                    <a:pt x="1933089" y="4824013"/>
                  </a:cubicBezTo>
                  <a:cubicBezTo>
                    <a:pt x="1939757" y="4825422"/>
                    <a:pt x="1946453" y="4826746"/>
                    <a:pt x="1953139" y="4828099"/>
                  </a:cubicBezTo>
                  <a:cubicBezTo>
                    <a:pt x="1965322" y="4830556"/>
                    <a:pt x="1977504" y="4833033"/>
                    <a:pt x="1989725" y="4835300"/>
                  </a:cubicBezTo>
                  <a:cubicBezTo>
                    <a:pt x="1998869" y="4837005"/>
                    <a:pt x="2008041" y="4838548"/>
                    <a:pt x="2017205" y="4840148"/>
                  </a:cubicBezTo>
                  <a:cubicBezTo>
                    <a:pt x="2027234" y="4841901"/>
                    <a:pt x="2037245" y="4843739"/>
                    <a:pt x="2047294" y="4845368"/>
                  </a:cubicBezTo>
                  <a:cubicBezTo>
                    <a:pt x="2066563" y="4848492"/>
                    <a:pt x="2085880" y="4851368"/>
                    <a:pt x="2105244" y="4854026"/>
                  </a:cubicBezTo>
                  <a:cubicBezTo>
                    <a:pt x="2110016" y="4854683"/>
                    <a:pt x="2114807" y="4855217"/>
                    <a:pt x="2119579" y="4855845"/>
                  </a:cubicBezTo>
                  <a:cubicBezTo>
                    <a:pt x="2135286" y="4857912"/>
                    <a:pt x="2151012" y="4859874"/>
                    <a:pt x="2166776" y="4861627"/>
                  </a:cubicBezTo>
                  <a:cubicBezTo>
                    <a:pt x="2171929" y="4862199"/>
                    <a:pt x="2177082" y="4862684"/>
                    <a:pt x="2182235" y="4863227"/>
                  </a:cubicBezTo>
                  <a:cubicBezTo>
                    <a:pt x="2198018" y="4864884"/>
                    <a:pt x="2213820" y="4866418"/>
                    <a:pt x="2229660" y="4867780"/>
                  </a:cubicBezTo>
                  <a:cubicBezTo>
                    <a:pt x="2231469" y="4867932"/>
                    <a:pt x="2233279" y="4868152"/>
                    <a:pt x="2235099" y="4868304"/>
                  </a:cubicBezTo>
                  <a:cubicBezTo>
                    <a:pt x="2235813" y="4868361"/>
                    <a:pt x="2236527" y="4868352"/>
                    <a:pt x="2237242" y="4868390"/>
                  </a:cubicBezTo>
                  <a:cubicBezTo>
                    <a:pt x="2303917" y="4873876"/>
                    <a:pt x="2371001" y="4876800"/>
                    <a:pt x="2438400" y="4876800"/>
                  </a:cubicBezTo>
                  <a:cubicBezTo>
                    <a:pt x="3089720" y="4876800"/>
                    <a:pt x="3702053" y="4623159"/>
                    <a:pt x="4162606" y="4162606"/>
                  </a:cubicBezTo>
                  <a:cubicBezTo>
                    <a:pt x="4583106" y="3742096"/>
                    <a:pt x="4830995" y="3195038"/>
                    <a:pt x="4870942" y="2607317"/>
                  </a:cubicBezTo>
                  <a:cubicBezTo>
                    <a:pt x="4871123" y="2604726"/>
                    <a:pt x="4871247" y="2602135"/>
                    <a:pt x="4871419" y="2599544"/>
                  </a:cubicBezTo>
                  <a:cubicBezTo>
                    <a:pt x="4872428" y="2583933"/>
                    <a:pt x="4873381" y="2568302"/>
                    <a:pt x="4874095" y="2552643"/>
                  </a:cubicBezTo>
                  <a:cubicBezTo>
                    <a:pt x="4874457" y="2544795"/>
                    <a:pt x="4874667" y="2536927"/>
                    <a:pt x="4874962" y="2529078"/>
                  </a:cubicBezTo>
                  <a:cubicBezTo>
                    <a:pt x="4875352" y="2518153"/>
                    <a:pt x="4875829" y="2507247"/>
                    <a:pt x="4876086" y="2496303"/>
                  </a:cubicBezTo>
                  <a:cubicBezTo>
                    <a:pt x="4876543" y="2477034"/>
                    <a:pt x="4876791" y="2457726"/>
                    <a:pt x="4876791" y="2438410"/>
                  </a:cubicBezTo>
                  <a:cubicBezTo>
                    <a:pt x="4876800" y="2132943"/>
                    <a:pt x="4821031" y="1835029"/>
                    <a:pt x="4711027" y="1552908"/>
                  </a:cubicBezTo>
                  <a:close/>
                  <a:moveTo>
                    <a:pt x="1732464" y="253060"/>
                  </a:moveTo>
                  <a:cubicBezTo>
                    <a:pt x="1701165" y="303514"/>
                    <a:pt x="1669494" y="353168"/>
                    <a:pt x="1639672" y="391735"/>
                  </a:cubicBezTo>
                  <a:cubicBezTo>
                    <a:pt x="1600514" y="442370"/>
                    <a:pt x="1579378" y="454552"/>
                    <a:pt x="1572635" y="457371"/>
                  </a:cubicBezTo>
                  <a:cubicBezTo>
                    <a:pt x="1543422" y="442389"/>
                    <a:pt x="1503216" y="405517"/>
                    <a:pt x="1468803" y="356492"/>
                  </a:cubicBezTo>
                  <a:cubicBezTo>
                    <a:pt x="1554433" y="316544"/>
                    <a:pt x="1642462" y="282026"/>
                    <a:pt x="1732464" y="253060"/>
                  </a:cubicBezTo>
                  <a:close/>
                  <a:moveTo>
                    <a:pt x="2308422" y="4663193"/>
                  </a:moveTo>
                  <a:cubicBezTo>
                    <a:pt x="2277923" y="4684024"/>
                    <a:pt x="2248757" y="4703940"/>
                    <a:pt x="2220973" y="4723610"/>
                  </a:cubicBezTo>
                  <a:cubicBezTo>
                    <a:pt x="2217334" y="4723267"/>
                    <a:pt x="2213715" y="4722848"/>
                    <a:pt x="2210076" y="4722486"/>
                  </a:cubicBezTo>
                  <a:cubicBezTo>
                    <a:pt x="2197418" y="4721238"/>
                    <a:pt x="2184759" y="4719952"/>
                    <a:pt x="2172129" y="4718495"/>
                  </a:cubicBezTo>
                  <a:cubicBezTo>
                    <a:pt x="2159965" y="4717085"/>
                    <a:pt x="2147840" y="4715494"/>
                    <a:pt x="2135715" y="4713885"/>
                  </a:cubicBezTo>
                  <a:cubicBezTo>
                    <a:pt x="2131267" y="4713294"/>
                    <a:pt x="2126799" y="4712799"/>
                    <a:pt x="2122361" y="4712180"/>
                  </a:cubicBezTo>
                  <a:cubicBezTo>
                    <a:pt x="2021596" y="4698226"/>
                    <a:pt x="1922221" y="4677566"/>
                    <a:pt x="1824781" y="4650572"/>
                  </a:cubicBezTo>
                  <a:cubicBezTo>
                    <a:pt x="1826619" y="4598499"/>
                    <a:pt x="1831486" y="4541777"/>
                    <a:pt x="1839516" y="4478703"/>
                  </a:cubicBezTo>
                  <a:cubicBezTo>
                    <a:pt x="1887198" y="4104123"/>
                    <a:pt x="1887760" y="3928262"/>
                    <a:pt x="1400775" y="3684765"/>
                  </a:cubicBezTo>
                  <a:cubicBezTo>
                    <a:pt x="1246213" y="3607480"/>
                    <a:pt x="1179062" y="3461357"/>
                    <a:pt x="1201179" y="3250454"/>
                  </a:cubicBezTo>
                  <a:cubicBezTo>
                    <a:pt x="1219105" y="3079509"/>
                    <a:pt x="1290114" y="2930081"/>
                    <a:pt x="1290790" y="2928661"/>
                  </a:cubicBezTo>
                  <a:cubicBezTo>
                    <a:pt x="1292562" y="2925013"/>
                    <a:pt x="1294000" y="2921213"/>
                    <a:pt x="1295124" y="2917317"/>
                  </a:cubicBezTo>
                  <a:cubicBezTo>
                    <a:pt x="1312859" y="2855538"/>
                    <a:pt x="1253728" y="2824448"/>
                    <a:pt x="1228487" y="2811170"/>
                  </a:cubicBezTo>
                  <a:cubicBezTo>
                    <a:pt x="1205875" y="2799283"/>
                    <a:pt x="1174814" y="2784758"/>
                    <a:pt x="1135485" y="2766365"/>
                  </a:cubicBezTo>
                  <a:cubicBezTo>
                    <a:pt x="913086" y="2662371"/>
                    <a:pt x="392278" y="2418845"/>
                    <a:pt x="312877" y="2088109"/>
                  </a:cubicBezTo>
                  <a:cubicBezTo>
                    <a:pt x="311182" y="2081003"/>
                    <a:pt x="309543" y="2074002"/>
                    <a:pt x="307981" y="2067039"/>
                  </a:cubicBezTo>
                  <a:cubicBezTo>
                    <a:pt x="256823" y="1839668"/>
                    <a:pt x="288255" y="1598771"/>
                    <a:pt x="396450" y="1388707"/>
                  </a:cubicBezTo>
                  <a:cubicBezTo>
                    <a:pt x="605847" y="982237"/>
                    <a:pt x="939517" y="641166"/>
                    <a:pt x="1340663" y="421977"/>
                  </a:cubicBezTo>
                  <a:cubicBezTo>
                    <a:pt x="1389764" y="497034"/>
                    <a:pt x="1455030" y="560137"/>
                    <a:pt x="1515542" y="588445"/>
                  </a:cubicBezTo>
                  <a:cubicBezTo>
                    <a:pt x="1583646" y="620278"/>
                    <a:pt x="1655521" y="593246"/>
                    <a:pt x="1729159" y="508025"/>
                  </a:cubicBezTo>
                  <a:cubicBezTo>
                    <a:pt x="1778194" y="451275"/>
                    <a:pt x="1827171" y="371808"/>
                    <a:pt x="1874530" y="294961"/>
                  </a:cubicBezTo>
                  <a:cubicBezTo>
                    <a:pt x="1894599" y="262414"/>
                    <a:pt x="1915201" y="228981"/>
                    <a:pt x="1935232" y="198301"/>
                  </a:cubicBezTo>
                  <a:cubicBezTo>
                    <a:pt x="2080889" y="165735"/>
                    <a:pt x="2230336" y="147409"/>
                    <a:pt x="2380574" y="143666"/>
                  </a:cubicBezTo>
                  <a:cubicBezTo>
                    <a:pt x="2404929" y="242316"/>
                    <a:pt x="2390947" y="395402"/>
                    <a:pt x="2279837" y="558975"/>
                  </a:cubicBezTo>
                  <a:cubicBezTo>
                    <a:pt x="2265236" y="580473"/>
                    <a:pt x="2161270" y="590883"/>
                    <a:pt x="2116874" y="595322"/>
                  </a:cubicBezTo>
                  <a:cubicBezTo>
                    <a:pt x="2033006" y="603723"/>
                    <a:pt x="1960579" y="610972"/>
                    <a:pt x="1918087" y="653472"/>
                  </a:cubicBezTo>
                  <a:cubicBezTo>
                    <a:pt x="1870043" y="701507"/>
                    <a:pt x="1882578" y="758914"/>
                    <a:pt x="1889303" y="789756"/>
                  </a:cubicBezTo>
                  <a:cubicBezTo>
                    <a:pt x="1896951" y="824789"/>
                    <a:pt x="1900114" y="839286"/>
                    <a:pt x="1831915" y="877729"/>
                  </a:cubicBezTo>
                  <a:cubicBezTo>
                    <a:pt x="1641405" y="985114"/>
                    <a:pt x="1552928" y="1150096"/>
                    <a:pt x="1505407" y="1238736"/>
                  </a:cubicBezTo>
                  <a:lnTo>
                    <a:pt x="1499321" y="1250042"/>
                  </a:lnTo>
                  <a:cubicBezTo>
                    <a:pt x="1494482" y="1259014"/>
                    <a:pt x="1458630" y="1269359"/>
                    <a:pt x="1434903" y="1276188"/>
                  </a:cubicBezTo>
                  <a:cubicBezTo>
                    <a:pt x="1365266" y="1296257"/>
                    <a:pt x="1260034" y="1326594"/>
                    <a:pt x="1223944" y="1454820"/>
                  </a:cubicBezTo>
                  <a:cubicBezTo>
                    <a:pt x="1213647" y="1491415"/>
                    <a:pt x="1205189" y="1529772"/>
                    <a:pt x="1197016" y="1566872"/>
                  </a:cubicBezTo>
                  <a:cubicBezTo>
                    <a:pt x="1183167" y="1629737"/>
                    <a:pt x="1158192" y="1743056"/>
                    <a:pt x="1128103" y="1759191"/>
                  </a:cubicBezTo>
                  <a:cubicBezTo>
                    <a:pt x="1122778" y="1746028"/>
                    <a:pt x="1117149" y="1721815"/>
                    <a:pt x="1113149" y="1704632"/>
                  </a:cubicBezTo>
                  <a:cubicBezTo>
                    <a:pt x="1096899" y="1634890"/>
                    <a:pt x="1072353" y="1529487"/>
                    <a:pt x="968931" y="1476204"/>
                  </a:cubicBezTo>
                  <a:cubicBezTo>
                    <a:pt x="907066" y="1444333"/>
                    <a:pt x="847973" y="1437494"/>
                    <a:pt x="793223" y="1455849"/>
                  </a:cubicBezTo>
                  <a:cubicBezTo>
                    <a:pt x="699802" y="1487195"/>
                    <a:pt x="647214" y="1583074"/>
                    <a:pt x="605257" y="1670476"/>
                  </a:cubicBezTo>
                  <a:cubicBezTo>
                    <a:pt x="540515" y="1805349"/>
                    <a:pt x="603952" y="1897485"/>
                    <a:pt x="654920" y="1971513"/>
                  </a:cubicBezTo>
                  <a:cubicBezTo>
                    <a:pt x="706469" y="2046370"/>
                    <a:pt x="755152" y="2117065"/>
                    <a:pt x="728405" y="2256358"/>
                  </a:cubicBezTo>
                  <a:cubicBezTo>
                    <a:pt x="715775" y="2322147"/>
                    <a:pt x="758971" y="2391270"/>
                    <a:pt x="860460" y="2467699"/>
                  </a:cubicBezTo>
                  <a:cubicBezTo>
                    <a:pt x="954405" y="2538451"/>
                    <a:pt x="1093489" y="2610488"/>
                    <a:pt x="1223410" y="2655703"/>
                  </a:cubicBezTo>
                  <a:cubicBezTo>
                    <a:pt x="1335310" y="2694651"/>
                    <a:pt x="1488853" y="2730837"/>
                    <a:pt x="1584912" y="2682097"/>
                  </a:cubicBezTo>
                  <a:cubicBezTo>
                    <a:pt x="1720263" y="2613412"/>
                    <a:pt x="1850174" y="2614908"/>
                    <a:pt x="1993764" y="2686822"/>
                  </a:cubicBezTo>
                  <a:cubicBezTo>
                    <a:pt x="2126333" y="2753220"/>
                    <a:pt x="2250777" y="2871064"/>
                    <a:pt x="2360571" y="2975039"/>
                  </a:cubicBezTo>
                  <a:cubicBezTo>
                    <a:pt x="2503399" y="3110294"/>
                    <a:pt x="2626757" y="3227108"/>
                    <a:pt x="2756754" y="3230128"/>
                  </a:cubicBezTo>
                  <a:cubicBezTo>
                    <a:pt x="3025874" y="3236386"/>
                    <a:pt x="3315633" y="3448364"/>
                    <a:pt x="3330083" y="3509763"/>
                  </a:cubicBezTo>
                  <a:cubicBezTo>
                    <a:pt x="3353114" y="3669449"/>
                    <a:pt x="3158500" y="3827078"/>
                    <a:pt x="2986783" y="3966153"/>
                  </a:cubicBezTo>
                  <a:cubicBezTo>
                    <a:pt x="2844194" y="4081644"/>
                    <a:pt x="2709501" y="4190743"/>
                    <a:pt x="2676354" y="4313377"/>
                  </a:cubicBezTo>
                  <a:cubicBezTo>
                    <a:pt x="2643702" y="4434183"/>
                    <a:pt x="2457793" y="4561161"/>
                    <a:pt x="2308422" y="4663193"/>
                  </a:cubicBezTo>
                  <a:close/>
                  <a:moveTo>
                    <a:pt x="4142651" y="3976326"/>
                  </a:moveTo>
                  <a:cubicBezTo>
                    <a:pt x="4116429" y="4005310"/>
                    <a:pt x="4089426" y="4033761"/>
                    <a:pt x="4061593" y="4061593"/>
                  </a:cubicBezTo>
                  <a:cubicBezTo>
                    <a:pt x="3632664" y="4490524"/>
                    <a:pt x="3063859" y="4728649"/>
                    <a:pt x="2458050" y="4733697"/>
                  </a:cubicBezTo>
                  <a:cubicBezTo>
                    <a:pt x="2615613" y="4624074"/>
                    <a:pt x="2773804" y="4500391"/>
                    <a:pt x="2814266" y="4350668"/>
                  </a:cubicBezTo>
                  <a:cubicBezTo>
                    <a:pt x="2835345" y="4272677"/>
                    <a:pt x="2958036" y="4173293"/>
                    <a:pt x="3076699" y="4077195"/>
                  </a:cubicBezTo>
                  <a:cubicBezTo>
                    <a:pt x="3277972" y="3914184"/>
                    <a:pt x="3506095" y="3729409"/>
                    <a:pt x="3471472" y="3489398"/>
                  </a:cubicBezTo>
                  <a:cubicBezTo>
                    <a:pt x="3455251" y="3376918"/>
                    <a:pt x="3286563" y="3269256"/>
                    <a:pt x="3214783" y="3228194"/>
                  </a:cubicBezTo>
                  <a:cubicBezTo>
                    <a:pt x="3063935" y="3141888"/>
                    <a:pt x="2898191" y="3090548"/>
                    <a:pt x="2760078" y="3087329"/>
                  </a:cubicBezTo>
                  <a:cubicBezTo>
                    <a:pt x="2760078" y="3087329"/>
                    <a:pt x="2760078" y="3087329"/>
                    <a:pt x="2760069" y="3087329"/>
                  </a:cubicBezTo>
                  <a:cubicBezTo>
                    <a:pt x="2685050" y="3085586"/>
                    <a:pt x="2570036" y="2976658"/>
                    <a:pt x="2458803" y="2871330"/>
                  </a:cubicBezTo>
                  <a:cubicBezTo>
                    <a:pt x="2228726" y="2653456"/>
                    <a:pt x="1913630" y="2355075"/>
                    <a:pt x="1520247" y="2554729"/>
                  </a:cubicBezTo>
                  <a:cubicBezTo>
                    <a:pt x="1477947" y="2576198"/>
                    <a:pt x="1345121" y="2558234"/>
                    <a:pt x="1173099" y="2482358"/>
                  </a:cubicBezTo>
                  <a:cubicBezTo>
                    <a:pt x="982847" y="2398433"/>
                    <a:pt x="882825" y="2308565"/>
                    <a:pt x="869804" y="2277418"/>
                  </a:cubicBezTo>
                  <a:cubicBezTo>
                    <a:pt x="905180" y="2083060"/>
                    <a:pt x="828627" y="1971904"/>
                    <a:pt x="772582" y="1890522"/>
                  </a:cubicBezTo>
                  <a:cubicBezTo>
                    <a:pt x="722462" y="1817732"/>
                    <a:pt x="706526" y="1789643"/>
                    <a:pt x="734044" y="1732321"/>
                  </a:cubicBezTo>
                  <a:cubicBezTo>
                    <a:pt x="755218" y="1688202"/>
                    <a:pt x="794642" y="1606077"/>
                    <a:pt x="838657" y="1591313"/>
                  </a:cubicBezTo>
                  <a:cubicBezTo>
                    <a:pt x="844906" y="1589218"/>
                    <a:pt x="863898" y="1582836"/>
                    <a:pt x="903484" y="1603229"/>
                  </a:cubicBezTo>
                  <a:cubicBezTo>
                    <a:pt x="945071" y="1624651"/>
                    <a:pt x="958396" y="1670123"/>
                    <a:pt x="973988" y="1737055"/>
                  </a:cubicBezTo>
                  <a:cubicBezTo>
                    <a:pt x="988895" y="1801101"/>
                    <a:pt x="1013698" y="1908362"/>
                    <a:pt x="1127674" y="1903895"/>
                  </a:cubicBezTo>
                  <a:cubicBezTo>
                    <a:pt x="1270244" y="1898361"/>
                    <a:pt x="1305449" y="1738598"/>
                    <a:pt x="1336510" y="1597638"/>
                  </a:cubicBezTo>
                  <a:cubicBezTo>
                    <a:pt x="1344254" y="1562510"/>
                    <a:pt x="1352255" y="1526191"/>
                    <a:pt x="1361446" y="1493539"/>
                  </a:cubicBezTo>
                  <a:cubicBezTo>
                    <a:pt x="1374677" y="1446533"/>
                    <a:pt x="1404480" y="1433646"/>
                    <a:pt x="1474441" y="1413491"/>
                  </a:cubicBezTo>
                  <a:cubicBezTo>
                    <a:pt x="1526686" y="1398432"/>
                    <a:pt x="1591704" y="1379687"/>
                    <a:pt x="1625041" y="1317879"/>
                  </a:cubicBezTo>
                  <a:lnTo>
                    <a:pt x="1631271" y="1306268"/>
                  </a:lnTo>
                  <a:cubicBezTo>
                    <a:pt x="1674809" y="1225086"/>
                    <a:pt x="1747666" y="1089212"/>
                    <a:pt x="1902028" y="1002202"/>
                  </a:cubicBezTo>
                  <a:cubicBezTo>
                    <a:pt x="1968360" y="964816"/>
                    <a:pt x="2009156" y="923115"/>
                    <a:pt x="2026720" y="874738"/>
                  </a:cubicBezTo>
                  <a:cubicBezTo>
                    <a:pt x="2043779" y="827751"/>
                    <a:pt x="2034797" y="786575"/>
                    <a:pt x="2028854" y="759324"/>
                  </a:cubicBezTo>
                  <a:cubicBezTo>
                    <a:pt x="2028387" y="757180"/>
                    <a:pt x="2027863" y="754780"/>
                    <a:pt x="2027368" y="752408"/>
                  </a:cubicBezTo>
                  <a:cubicBezTo>
                    <a:pt x="2050942" y="745512"/>
                    <a:pt x="2098043" y="740797"/>
                    <a:pt x="2131085" y="737492"/>
                  </a:cubicBezTo>
                  <a:cubicBezTo>
                    <a:pt x="2231765" y="727405"/>
                    <a:pt x="2345884" y="715985"/>
                    <a:pt x="2397995" y="639261"/>
                  </a:cubicBezTo>
                  <a:cubicBezTo>
                    <a:pt x="2505790" y="480565"/>
                    <a:pt x="2551709" y="296990"/>
                    <a:pt x="2526526" y="144618"/>
                  </a:cubicBezTo>
                  <a:cubicBezTo>
                    <a:pt x="2720969" y="152048"/>
                    <a:pt x="2912802" y="183985"/>
                    <a:pt x="3097540" y="239230"/>
                  </a:cubicBezTo>
                  <a:cubicBezTo>
                    <a:pt x="3402806" y="621192"/>
                    <a:pt x="3427410" y="720233"/>
                    <a:pt x="3429267" y="735682"/>
                  </a:cubicBezTo>
                  <a:cubicBezTo>
                    <a:pt x="3407731" y="845744"/>
                    <a:pt x="3460404" y="962101"/>
                    <a:pt x="3494551" y="1022842"/>
                  </a:cubicBezTo>
                  <a:cubicBezTo>
                    <a:pt x="3436715" y="1119569"/>
                    <a:pt x="3299174" y="1376534"/>
                    <a:pt x="3310557" y="1615469"/>
                  </a:cubicBezTo>
                  <a:cubicBezTo>
                    <a:pt x="3317015" y="1751152"/>
                    <a:pt x="3385385" y="1943643"/>
                    <a:pt x="3493437" y="2130381"/>
                  </a:cubicBezTo>
                  <a:cubicBezTo>
                    <a:pt x="3646856" y="2395519"/>
                    <a:pt x="3753412" y="2448602"/>
                    <a:pt x="3803276" y="2456659"/>
                  </a:cubicBezTo>
                  <a:cubicBezTo>
                    <a:pt x="3881619" y="2469309"/>
                    <a:pt x="3968296" y="2418531"/>
                    <a:pt x="4060136" y="2364800"/>
                  </a:cubicBezTo>
                  <a:cubicBezTo>
                    <a:pt x="4139775" y="2318233"/>
                    <a:pt x="4248874" y="2254444"/>
                    <a:pt x="4283517" y="2286924"/>
                  </a:cubicBezTo>
                  <a:cubicBezTo>
                    <a:pt x="4415152" y="2410159"/>
                    <a:pt x="4383091" y="2807961"/>
                    <a:pt x="4352278" y="3034113"/>
                  </a:cubicBezTo>
                  <a:cubicBezTo>
                    <a:pt x="4301223" y="3408731"/>
                    <a:pt x="4191895" y="3807457"/>
                    <a:pt x="4142651" y="3976326"/>
                  </a:cubicBezTo>
                  <a:close/>
                </a:path>
              </a:pathLst>
            </a:custGeom>
            <a:solidFill>
              <a:schemeClr val="bg1"/>
            </a:solid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71" name="Group 70">
            <a:extLst>
              <a:ext uri="{FF2B5EF4-FFF2-40B4-BE49-F238E27FC236}">
                <a16:creationId xmlns:a16="http://schemas.microsoft.com/office/drawing/2014/main" id="{919FB1D9-0B60-4E45-A08E-7F92650C76D7}"/>
              </a:ext>
            </a:extLst>
          </p:cNvPr>
          <p:cNvGrpSpPr/>
          <p:nvPr/>
        </p:nvGrpSpPr>
        <p:grpSpPr>
          <a:xfrm>
            <a:off x="4317745" y="5763118"/>
            <a:ext cx="589965" cy="589962"/>
            <a:chOff x="8563471" y="-803261"/>
            <a:chExt cx="557636" cy="557636"/>
          </a:xfrm>
        </p:grpSpPr>
        <p:sp>
          <p:nvSpPr>
            <p:cNvPr id="72" name="Oval 71">
              <a:extLst>
                <a:ext uri="{FF2B5EF4-FFF2-40B4-BE49-F238E27FC236}">
                  <a16:creationId xmlns:a16="http://schemas.microsoft.com/office/drawing/2014/main" id="{B945CCEF-16B7-4942-95FC-0D8095B315CD}"/>
                </a:ext>
              </a:extLst>
            </p:cNvPr>
            <p:cNvSpPr/>
            <p:nvPr/>
          </p:nvSpPr>
          <p:spPr>
            <a:xfrm>
              <a:off x="8563471" y="-803261"/>
              <a:ext cx="557636" cy="557636"/>
            </a:xfrm>
            <a:prstGeom prst="ellipse">
              <a:avLst/>
            </a:prstGeom>
            <a:solidFill>
              <a:srgbClr val="43ABB6">
                <a:alpha val="5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fr-FR" sz="1400" b="0" i="0" u="none" strike="noStrike" kern="1200" cap="none" spc="0" normalizeH="0" baseline="0" noProof="0" dirty="0" err="1">
                <a:ln>
                  <a:noFill/>
                </a:ln>
                <a:solidFill>
                  <a:srgbClr val="000000"/>
                </a:solidFill>
                <a:effectLst/>
                <a:uLnTx/>
                <a:uFillTx/>
                <a:latin typeface="Arial" pitchFamily="34" charset="0"/>
                <a:ea typeface="+mn-ea"/>
                <a:cs typeface="Arial" pitchFamily="34" charset="0"/>
              </a:endParaRPr>
            </a:p>
          </p:txBody>
        </p:sp>
        <p:grpSp>
          <p:nvGrpSpPr>
            <p:cNvPr id="73" name="Graphic 9">
              <a:extLst>
                <a:ext uri="{FF2B5EF4-FFF2-40B4-BE49-F238E27FC236}">
                  <a16:creationId xmlns:a16="http://schemas.microsoft.com/office/drawing/2014/main" id="{A8F2E5BE-4BFD-4C1B-9523-98B5591F4DE0}"/>
                </a:ext>
              </a:extLst>
            </p:cNvPr>
            <p:cNvGrpSpPr/>
            <p:nvPr/>
          </p:nvGrpSpPr>
          <p:grpSpPr>
            <a:xfrm>
              <a:off x="8667844" y="-699099"/>
              <a:ext cx="348890" cy="349312"/>
              <a:chOff x="3660541" y="990597"/>
              <a:chExt cx="4870683" cy="4876583"/>
            </a:xfrm>
            <a:solidFill>
              <a:schemeClr val="bg1"/>
            </a:solidFill>
          </p:grpSpPr>
          <p:sp>
            <p:nvSpPr>
              <p:cNvPr id="74" name="Freeform 89">
                <a:extLst>
                  <a:ext uri="{FF2B5EF4-FFF2-40B4-BE49-F238E27FC236}">
                    <a16:creationId xmlns:a16="http://schemas.microsoft.com/office/drawing/2014/main" id="{D76405AD-703A-47AF-968C-EE7E8F285C3D}"/>
                  </a:ext>
                </a:extLst>
              </p:cNvPr>
              <p:cNvSpPr/>
              <p:nvPr/>
            </p:nvSpPr>
            <p:spPr>
              <a:xfrm>
                <a:off x="3660541" y="990597"/>
                <a:ext cx="4870683" cy="4876583"/>
              </a:xfrm>
              <a:custGeom>
                <a:avLst/>
                <a:gdLst>
                  <a:gd name="connsiteX0" fmla="*/ 4868925 w 4870683"/>
                  <a:gd name="connsiteY0" fmla="*/ 1370602 h 4876583"/>
                  <a:gd name="connsiteX1" fmla="*/ 4780800 w 4870683"/>
                  <a:gd name="connsiteY1" fmla="*/ 1214792 h 4876583"/>
                  <a:gd name="connsiteX2" fmla="*/ 3287947 w 4870683"/>
                  <a:gd name="connsiteY2" fmla="*/ 49390 h 4876583"/>
                  <a:gd name="connsiteX3" fmla="*/ 2959686 w 4870683"/>
                  <a:gd name="connsiteY3" fmla="*/ 89537 h 4876583"/>
                  <a:gd name="connsiteX4" fmla="*/ 1513496 w 4870683"/>
                  <a:gd name="connsiteY4" fmla="*/ 1933282 h 4876583"/>
                  <a:gd name="connsiteX5" fmla="*/ 553900 w 4870683"/>
                  <a:gd name="connsiteY5" fmla="*/ 2575734 h 4876583"/>
                  <a:gd name="connsiteX6" fmla="*/ 553833 w 4870683"/>
                  <a:gd name="connsiteY6" fmla="*/ 2575772 h 4876583"/>
                  <a:gd name="connsiteX7" fmla="*/ 288953 w 4870683"/>
                  <a:gd name="connsiteY7" fmla="*/ 2753118 h 4876583"/>
                  <a:gd name="connsiteX8" fmla="*/ 103968 w 4870683"/>
                  <a:gd name="connsiteY8" fmla="*/ 2876972 h 4876583"/>
                  <a:gd name="connsiteX9" fmla="*/ 94404 w 4870683"/>
                  <a:gd name="connsiteY9" fmla="*/ 2883725 h 4876583"/>
                  <a:gd name="connsiteX10" fmla="*/ 4488 w 4870683"/>
                  <a:gd name="connsiteY10" fmla="*/ 3026162 h 4876583"/>
                  <a:gd name="connsiteX11" fmla="*/ 39645 w 4870683"/>
                  <a:gd name="connsiteY11" fmla="*/ 3201384 h 4876583"/>
                  <a:gd name="connsiteX12" fmla="*/ 39769 w 4870683"/>
                  <a:gd name="connsiteY12" fmla="*/ 3201565 h 4876583"/>
                  <a:gd name="connsiteX13" fmla="*/ 39788 w 4870683"/>
                  <a:gd name="connsiteY13" fmla="*/ 3201593 h 4876583"/>
                  <a:gd name="connsiteX14" fmla="*/ 263826 w 4870683"/>
                  <a:gd name="connsiteY14" fmla="*/ 3535435 h 4876583"/>
                  <a:gd name="connsiteX15" fmla="*/ 341435 w 4870683"/>
                  <a:gd name="connsiteY15" fmla="*/ 3651087 h 4876583"/>
                  <a:gd name="connsiteX16" fmla="*/ 793463 w 4870683"/>
                  <a:gd name="connsiteY16" fmla="*/ 4324667 h 4876583"/>
                  <a:gd name="connsiteX17" fmla="*/ 793473 w 4870683"/>
                  <a:gd name="connsiteY17" fmla="*/ 4324686 h 4876583"/>
                  <a:gd name="connsiteX18" fmla="*/ 868463 w 4870683"/>
                  <a:gd name="connsiteY18" fmla="*/ 4436433 h 4876583"/>
                  <a:gd name="connsiteX19" fmla="*/ 1094444 w 4870683"/>
                  <a:gd name="connsiteY19" fmla="*/ 4773171 h 4876583"/>
                  <a:gd name="connsiteX20" fmla="*/ 1289011 w 4870683"/>
                  <a:gd name="connsiteY20" fmla="*/ 4876583 h 4876583"/>
                  <a:gd name="connsiteX21" fmla="*/ 1418884 w 4870683"/>
                  <a:gd name="connsiteY21" fmla="*/ 4837093 h 4876583"/>
                  <a:gd name="connsiteX22" fmla="*/ 1419027 w 4870683"/>
                  <a:gd name="connsiteY22" fmla="*/ 4836998 h 4876583"/>
                  <a:gd name="connsiteX23" fmla="*/ 1419094 w 4870683"/>
                  <a:gd name="connsiteY23" fmla="*/ 4836959 h 4876583"/>
                  <a:gd name="connsiteX24" fmla="*/ 1858320 w 4870683"/>
                  <a:gd name="connsiteY24" fmla="*/ 4542894 h 4876583"/>
                  <a:gd name="connsiteX25" fmla="*/ 2052344 w 4870683"/>
                  <a:gd name="connsiteY25" fmla="*/ 4694351 h 4876583"/>
                  <a:gd name="connsiteX26" fmla="*/ 2196029 w 4870683"/>
                  <a:gd name="connsiteY26" fmla="*/ 4743748 h 4876583"/>
                  <a:gd name="connsiteX27" fmla="*/ 2380614 w 4870683"/>
                  <a:gd name="connsiteY27" fmla="*/ 4654203 h 4876583"/>
                  <a:gd name="connsiteX28" fmla="*/ 3142100 w 4870683"/>
                  <a:gd name="connsiteY28" fmla="*/ 3683396 h 4876583"/>
                  <a:gd name="connsiteX29" fmla="*/ 4252258 w 4870683"/>
                  <a:gd name="connsiteY29" fmla="*/ 2940141 h 4876583"/>
                  <a:gd name="connsiteX30" fmla="*/ 4256639 w 4870683"/>
                  <a:gd name="connsiteY30" fmla="*/ 2937665 h 4876583"/>
                  <a:gd name="connsiteX31" fmla="*/ 4706514 w 4870683"/>
                  <a:gd name="connsiteY31" fmla="*/ 2636456 h 4876583"/>
                  <a:gd name="connsiteX32" fmla="*/ 4805984 w 4870683"/>
                  <a:gd name="connsiteY32" fmla="*/ 2487275 h 4876583"/>
                  <a:gd name="connsiteX33" fmla="*/ 4770827 w 4870683"/>
                  <a:gd name="connsiteY33" fmla="*/ 2312053 h 4876583"/>
                  <a:gd name="connsiteX34" fmla="*/ 4770580 w 4870683"/>
                  <a:gd name="connsiteY34" fmla="*/ 2311691 h 4876583"/>
                  <a:gd name="connsiteX35" fmla="*/ 4770484 w 4870683"/>
                  <a:gd name="connsiteY35" fmla="*/ 2311539 h 4876583"/>
                  <a:gd name="connsiteX36" fmla="*/ 4515824 w 4870683"/>
                  <a:gd name="connsiteY36" fmla="*/ 1932063 h 4876583"/>
                  <a:gd name="connsiteX37" fmla="*/ 4820795 w 4870683"/>
                  <a:gd name="connsiteY37" fmla="*/ 1543252 h 4876583"/>
                  <a:gd name="connsiteX38" fmla="*/ 4868925 w 4870683"/>
                  <a:gd name="connsiteY38" fmla="*/ 1370602 h 4876583"/>
                  <a:gd name="connsiteX39" fmla="*/ 629500 w 4870683"/>
                  <a:gd name="connsiteY39" fmla="*/ 3149186 h 4876583"/>
                  <a:gd name="connsiteX40" fmla="*/ 418102 w 4870683"/>
                  <a:gd name="connsiteY40" fmla="*/ 3508917 h 4876583"/>
                  <a:gd name="connsiteX41" fmla="*/ 191178 w 4870683"/>
                  <a:gd name="connsiteY41" fmla="*/ 3170780 h 4876583"/>
                  <a:gd name="connsiteX42" fmla="*/ 158412 w 4870683"/>
                  <a:gd name="connsiteY42" fmla="*/ 3121945 h 4876583"/>
                  <a:gd name="connsiteX43" fmla="*/ 144735 w 4870683"/>
                  <a:gd name="connsiteY43" fmla="*/ 3053756 h 4876583"/>
                  <a:gd name="connsiteX44" fmla="*/ 176158 w 4870683"/>
                  <a:gd name="connsiteY44" fmla="*/ 3001101 h 4876583"/>
                  <a:gd name="connsiteX45" fmla="*/ 183454 w 4870683"/>
                  <a:gd name="connsiteY45" fmla="*/ 2995691 h 4876583"/>
                  <a:gd name="connsiteX46" fmla="*/ 311670 w 4870683"/>
                  <a:gd name="connsiteY46" fmla="*/ 2909852 h 4876583"/>
                  <a:gd name="connsiteX47" fmla="*/ 570750 w 4870683"/>
                  <a:gd name="connsiteY47" fmla="*/ 2736402 h 4876583"/>
                  <a:gd name="connsiteX48" fmla="*/ 629500 w 4870683"/>
                  <a:gd name="connsiteY48" fmla="*/ 3149186 h 4876583"/>
                  <a:gd name="connsiteX49" fmla="*/ 1339465 w 4870683"/>
                  <a:gd name="connsiteY49" fmla="*/ 4718297 h 4876583"/>
                  <a:gd name="connsiteX50" fmla="*/ 1213068 w 4870683"/>
                  <a:gd name="connsiteY50" fmla="*/ 4693523 h 4876583"/>
                  <a:gd name="connsiteX51" fmla="*/ 1209944 w 4870683"/>
                  <a:gd name="connsiteY51" fmla="*/ 4688865 h 4876583"/>
                  <a:gd name="connsiteX52" fmla="*/ 954188 w 4870683"/>
                  <a:gd name="connsiteY52" fmla="*/ 4307750 h 4876583"/>
                  <a:gd name="connsiteX53" fmla="*/ 1727932 w 4870683"/>
                  <a:gd name="connsiteY53" fmla="*/ 4458217 h 4876583"/>
                  <a:gd name="connsiteX54" fmla="*/ 2268181 w 4870683"/>
                  <a:gd name="connsiteY54" fmla="*/ 4566002 h 4876583"/>
                  <a:gd name="connsiteX55" fmla="*/ 2140251 w 4870683"/>
                  <a:gd name="connsiteY55" fmla="*/ 4581709 h 4876583"/>
                  <a:gd name="connsiteX56" fmla="*/ 1983307 w 4870683"/>
                  <a:gd name="connsiteY56" fmla="*/ 4459189 h 4876583"/>
                  <a:gd name="connsiteX57" fmla="*/ 2759671 w 4870683"/>
                  <a:gd name="connsiteY57" fmla="*/ 3939409 h 4876583"/>
                  <a:gd name="connsiteX58" fmla="*/ 4180953 w 4870683"/>
                  <a:gd name="connsiteY58" fmla="*/ 2364222 h 4876583"/>
                  <a:gd name="connsiteX59" fmla="*/ 4392351 w 4870683"/>
                  <a:gd name="connsiteY59" fmla="*/ 2004482 h 4876583"/>
                  <a:gd name="connsiteX60" fmla="*/ 4651927 w 4870683"/>
                  <a:gd name="connsiteY60" fmla="*/ 2391292 h 4876583"/>
                  <a:gd name="connsiteX61" fmla="*/ 4665500 w 4870683"/>
                  <a:gd name="connsiteY61" fmla="*/ 2459338 h 4876583"/>
                  <a:gd name="connsiteX62" fmla="*/ 4626781 w 4870683"/>
                  <a:gd name="connsiteY62" fmla="*/ 2517413 h 4876583"/>
                  <a:gd name="connsiteX63" fmla="*/ 4239542 w 4870683"/>
                  <a:gd name="connsiteY63" fmla="*/ 2776673 h 4876583"/>
                  <a:gd name="connsiteX64" fmla="*/ 4180953 w 4870683"/>
                  <a:gd name="connsiteY64" fmla="*/ 2364222 h 4876583"/>
                  <a:gd name="connsiteX65" fmla="*/ 4708353 w 4870683"/>
                  <a:gd name="connsiteY65" fmla="*/ 1455060 h 4876583"/>
                  <a:gd name="connsiteX66" fmla="*/ 4432071 w 4870683"/>
                  <a:gd name="connsiteY66" fmla="*/ 1807285 h 4876583"/>
                  <a:gd name="connsiteX67" fmla="*/ 3715810 w 4870683"/>
                  <a:gd name="connsiteY67" fmla="*/ 739952 h 4876583"/>
                  <a:gd name="connsiteX68" fmla="*/ 3391359 w 4870683"/>
                  <a:gd name="connsiteY68" fmla="*/ 676030 h 4876583"/>
                  <a:gd name="connsiteX69" fmla="*/ 2758423 w 4870683"/>
                  <a:gd name="connsiteY69" fmla="*/ 1099778 h 4876583"/>
                  <a:gd name="connsiteX70" fmla="*/ 2837919 w 4870683"/>
                  <a:gd name="connsiteY70" fmla="*/ 1218507 h 4876583"/>
                  <a:gd name="connsiteX71" fmla="*/ 2962963 w 4870683"/>
                  <a:gd name="connsiteY71" fmla="*/ 1134782 h 4876583"/>
                  <a:gd name="connsiteX72" fmla="*/ 3564781 w 4870683"/>
                  <a:gd name="connsiteY72" fmla="*/ 1419523 h 4876583"/>
                  <a:gd name="connsiteX73" fmla="*/ 3936228 w 4870683"/>
                  <a:gd name="connsiteY73" fmla="*/ 1324806 h 4876583"/>
                  <a:gd name="connsiteX74" fmla="*/ 4312389 w 4870683"/>
                  <a:gd name="connsiteY74" fmla="*/ 1885333 h 4876583"/>
                  <a:gd name="connsiteX75" fmla="*/ 4040774 w 4870683"/>
                  <a:gd name="connsiteY75" fmla="*/ 2336542 h 4876583"/>
                  <a:gd name="connsiteX76" fmla="*/ 4120279 w 4870683"/>
                  <a:gd name="connsiteY76" fmla="*/ 2856493 h 4876583"/>
                  <a:gd name="connsiteX77" fmla="*/ 3052517 w 4870683"/>
                  <a:gd name="connsiteY77" fmla="*/ 3571363 h 4876583"/>
                  <a:gd name="connsiteX78" fmla="*/ 3052193 w 4870683"/>
                  <a:gd name="connsiteY78" fmla="*/ 3571582 h 4876583"/>
                  <a:gd name="connsiteX79" fmla="*/ 1847138 w 4870683"/>
                  <a:gd name="connsiteY79" fmla="*/ 4378378 h 4876583"/>
                  <a:gd name="connsiteX80" fmla="*/ 874216 w 4870683"/>
                  <a:gd name="connsiteY80" fmla="*/ 4188612 h 4876583"/>
                  <a:gd name="connsiteX81" fmla="*/ 498036 w 4870683"/>
                  <a:gd name="connsiteY81" fmla="*/ 3628056 h 4876583"/>
                  <a:gd name="connsiteX82" fmla="*/ 769651 w 4870683"/>
                  <a:gd name="connsiteY82" fmla="*/ 3176847 h 4876583"/>
                  <a:gd name="connsiteX83" fmla="*/ 689955 w 4870683"/>
                  <a:gd name="connsiteY83" fmla="*/ 2656563 h 4876583"/>
                  <a:gd name="connsiteX84" fmla="*/ 2506049 w 4870683"/>
                  <a:gd name="connsiteY84" fmla="*/ 1440678 h 4876583"/>
                  <a:gd name="connsiteX85" fmla="*/ 2426553 w 4870683"/>
                  <a:gd name="connsiteY85" fmla="*/ 1321949 h 4876583"/>
                  <a:gd name="connsiteX86" fmla="*/ 1895887 w 4870683"/>
                  <a:gd name="connsiteY86" fmla="*/ 1677231 h 4876583"/>
                  <a:gd name="connsiteX87" fmla="*/ 3072110 w 4870683"/>
                  <a:gd name="connsiteY87" fmla="*/ 177720 h 4876583"/>
                  <a:gd name="connsiteX88" fmla="*/ 3200040 w 4870683"/>
                  <a:gd name="connsiteY88" fmla="*/ 162023 h 4876583"/>
                  <a:gd name="connsiteX89" fmla="*/ 4692884 w 4870683"/>
                  <a:gd name="connsiteY89" fmla="*/ 1327416 h 4876583"/>
                  <a:gd name="connsiteX90" fmla="*/ 4727107 w 4870683"/>
                  <a:gd name="connsiteY90" fmla="*/ 1387919 h 4876583"/>
                  <a:gd name="connsiteX91" fmla="*/ 4708353 w 4870683"/>
                  <a:gd name="connsiteY91" fmla="*/ 1455060 h 4876583"/>
                  <a:gd name="connsiteX92" fmla="*/ 3470855 w 4870683"/>
                  <a:gd name="connsiteY92" fmla="*/ 795207 h 4876583"/>
                  <a:gd name="connsiteX93" fmla="*/ 3597395 w 4870683"/>
                  <a:gd name="connsiteY93" fmla="*/ 819895 h 4876583"/>
                  <a:gd name="connsiteX94" fmla="*/ 3728259 w 4870683"/>
                  <a:gd name="connsiteY94" fmla="*/ 1014891 h 4876583"/>
                  <a:gd name="connsiteX95" fmla="*/ 3856284 w 4870683"/>
                  <a:gd name="connsiteY95" fmla="*/ 1205667 h 4876583"/>
                  <a:gd name="connsiteX96" fmla="*/ 3082540 w 4870683"/>
                  <a:gd name="connsiteY96" fmla="*/ 1055201 h 487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4870683" h="4876583">
                    <a:moveTo>
                      <a:pt x="4868925" y="1370602"/>
                    </a:moveTo>
                    <a:cubicBezTo>
                      <a:pt x="4861362" y="1308585"/>
                      <a:pt x="4830063" y="1253245"/>
                      <a:pt x="4780800" y="1214792"/>
                    </a:cubicBezTo>
                    <a:lnTo>
                      <a:pt x="3287947" y="49390"/>
                    </a:lnTo>
                    <a:cubicBezTo>
                      <a:pt x="3186477" y="-29820"/>
                      <a:pt x="3039211" y="-11828"/>
                      <a:pt x="2959686" y="89537"/>
                    </a:cubicBezTo>
                    <a:lnTo>
                      <a:pt x="1513496" y="1933282"/>
                    </a:lnTo>
                    <a:lnTo>
                      <a:pt x="553900" y="2575734"/>
                    </a:lnTo>
                    <a:cubicBezTo>
                      <a:pt x="553881" y="2575744"/>
                      <a:pt x="553862" y="2575762"/>
                      <a:pt x="553833" y="2575772"/>
                    </a:cubicBezTo>
                    <a:lnTo>
                      <a:pt x="288953" y="2753118"/>
                    </a:lnTo>
                    <a:lnTo>
                      <a:pt x="103968" y="2876972"/>
                    </a:lnTo>
                    <a:cubicBezTo>
                      <a:pt x="100710" y="2879153"/>
                      <a:pt x="97519" y="2881401"/>
                      <a:pt x="94404" y="2883725"/>
                    </a:cubicBezTo>
                    <a:cubicBezTo>
                      <a:pt x="47608" y="2918472"/>
                      <a:pt x="15842" y="2968640"/>
                      <a:pt x="4488" y="3026162"/>
                    </a:cubicBezTo>
                    <a:cubicBezTo>
                      <a:pt x="-7589" y="3087379"/>
                      <a:pt x="4898" y="3149606"/>
                      <a:pt x="39645" y="3201384"/>
                    </a:cubicBezTo>
                    <a:lnTo>
                      <a:pt x="39769" y="3201565"/>
                    </a:lnTo>
                    <a:cubicBezTo>
                      <a:pt x="39769" y="3201574"/>
                      <a:pt x="39779" y="3201584"/>
                      <a:pt x="39788" y="3201593"/>
                    </a:cubicBezTo>
                    <a:lnTo>
                      <a:pt x="263826" y="3535435"/>
                    </a:lnTo>
                    <a:lnTo>
                      <a:pt x="341435" y="3651087"/>
                    </a:lnTo>
                    <a:lnTo>
                      <a:pt x="793463" y="4324667"/>
                    </a:lnTo>
                    <a:cubicBezTo>
                      <a:pt x="793463" y="4324667"/>
                      <a:pt x="793473" y="4324676"/>
                      <a:pt x="793473" y="4324686"/>
                    </a:cubicBezTo>
                    <a:lnTo>
                      <a:pt x="868463" y="4436433"/>
                    </a:lnTo>
                    <a:lnTo>
                      <a:pt x="1094444" y="4773171"/>
                    </a:lnTo>
                    <a:cubicBezTo>
                      <a:pt x="1139488" y="4840293"/>
                      <a:pt x="1213592" y="4876583"/>
                      <a:pt x="1289011" y="4876583"/>
                    </a:cubicBezTo>
                    <a:cubicBezTo>
                      <a:pt x="1333759" y="4876583"/>
                      <a:pt x="1378984" y="4863801"/>
                      <a:pt x="1418884" y="4837093"/>
                    </a:cubicBezTo>
                    <a:lnTo>
                      <a:pt x="1419027" y="4836998"/>
                    </a:lnTo>
                    <a:cubicBezTo>
                      <a:pt x="1419046" y="4836979"/>
                      <a:pt x="1419075" y="4836969"/>
                      <a:pt x="1419094" y="4836959"/>
                    </a:cubicBezTo>
                    <a:lnTo>
                      <a:pt x="1858320" y="4542894"/>
                    </a:lnTo>
                    <a:lnTo>
                      <a:pt x="2052344" y="4694351"/>
                    </a:lnTo>
                    <a:cubicBezTo>
                      <a:pt x="2094978" y="4727622"/>
                      <a:pt x="2145671" y="4743748"/>
                      <a:pt x="2196029" y="4743748"/>
                    </a:cubicBezTo>
                    <a:cubicBezTo>
                      <a:pt x="2265581" y="4743748"/>
                      <a:pt x="2334494" y="4712992"/>
                      <a:pt x="2380614" y="4654203"/>
                    </a:cubicBezTo>
                    <a:lnTo>
                      <a:pt x="3142100" y="3683396"/>
                    </a:lnTo>
                    <a:lnTo>
                      <a:pt x="4252258" y="2940141"/>
                    </a:lnTo>
                    <a:cubicBezTo>
                      <a:pt x="4253715" y="2939303"/>
                      <a:pt x="4255220" y="2938608"/>
                      <a:pt x="4256639" y="2937665"/>
                    </a:cubicBezTo>
                    <a:lnTo>
                      <a:pt x="4706514" y="2636456"/>
                    </a:lnTo>
                    <a:cubicBezTo>
                      <a:pt x="4758550" y="2601623"/>
                      <a:pt x="4793878" y="2548635"/>
                      <a:pt x="4805984" y="2487275"/>
                    </a:cubicBezTo>
                    <a:cubicBezTo>
                      <a:pt x="4818062" y="2426058"/>
                      <a:pt x="4805574" y="2363831"/>
                      <a:pt x="4770827" y="2312053"/>
                    </a:cubicBezTo>
                    <a:lnTo>
                      <a:pt x="4770580" y="2311691"/>
                    </a:lnTo>
                    <a:cubicBezTo>
                      <a:pt x="4770542" y="2311644"/>
                      <a:pt x="4770513" y="2311587"/>
                      <a:pt x="4770484" y="2311539"/>
                    </a:cubicBezTo>
                    <a:lnTo>
                      <a:pt x="4515824" y="1932063"/>
                    </a:lnTo>
                    <a:lnTo>
                      <a:pt x="4820795" y="1543252"/>
                    </a:lnTo>
                    <a:cubicBezTo>
                      <a:pt x="4859400" y="1493989"/>
                      <a:pt x="4876507" y="1432686"/>
                      <a:pt x="4868925" y="1370602"/>
                    </a:cubicBezTo>
                    <a:close/>
                    <a:moveTo>
                      <a:pt x="629500" y="3149186"/>
                    </a:moveTo>
                    <a:cubicBezTo>
                      <a:pt x="601449" y="3291309"/>
                      <a:pt x="527278" y="3416763"/>
                      <a:pt x="418102" y="3508917"/>
                    </a:cubicBezTo>
                    <a:lnTo>
                      <a:pt x="191178" y="3170780"/>
                    </a:lnTo>
                    <a:lnTo>
                      <a:pt x="158412" y="3121945"/>
                    </a:lnTo>
                    <a:cubicBezTo>
                      <a:pt x="144897" y="3101800"/>
                      <a:pt x="140029" y="3077578"/>
                      <a:pt x="144735" y="3053756"/>
                    </a:cubicBezTo>
                    <a:cubicBezTo>
                      <a:pt x="148859" y="3032858"/>
                      <a:pt x="159898" y="3014465"/>
                      <a:pt x="176158" y="3001101"/>
                    </a:cubicBezTo>
                    <a:cubicBezTo>
                      <a:pt x="178482" y="2999196"/>
                      <a:pt x="180920" y="2997387"/>
                      <a:pt x="183454" y="2995691"/>
                    </a:cubicBezTo>
                    <a:lnTo>
                      <a:pt x="311670" y="2909852"/>
                    </a:lnTo>
                    <a:lnTo>
                      <a:pt x="570750" y="2736402"/>
                    </a:lnTo>
                    <a:cubicBezTo>
                      <a:pt x="636644" y="2863027"/>
                      <a:pt x="657532" y="3007140"/>
                      <a:pt x="629500" y="3149186"/>
                    </a:cubicBezTo>
                    <a:close/>
                    <a:moveTo>
                      <a:pt x="1339465" y="4718297"/>
                    </a:moveTo>
                    <a:cubicBezTo>
                      <a:pt x="1297631" y="4746196"/>
                      <a:pt x="1240967" y="4735099"/>
                      <a:pt x="1213068" y="4693523"/>
                    </a:cubicBezTo>
                    <a:lnTo>
                      <a:pt x="1209944" y="4688865"/>
                    </a:lnTo>
                    <a:lnTo>
                      <a:pt x="954188" y="4307750"/>
                    </a:lnTo>
                    <a:cubicBezTo>
                      <a:pt x="1215564" y="4172238"/>
                      <a:pt x="1538223" y="4234989"/>
                      <a:pt x="1727932" y="4458217"/>
                    </a:cubicBezTo>
                    <a:close/>
                    <a:moveTo>
                      <a:pt x="2268181" y="4566002"/>
                    </a:moveTo>
                    <a:cubicBezTo>
                      <a:pt x="2237177" y="4605521"/>
                      <a:pt x="2179789" y="4612579"/>
                      <a:pt x="2140251" y="4581709"/>
                    </a:cubicBezTo>
                    <a:lnTo>
                      <a:pt x="1983307" y="4459189"/>
                    </a:lnTo>
                    <a:lnTo>
                      <a:pt x="2759671" y="3939409"/>
                    </a:lnTo>
                    <a:close/>
                    <a:moveTo>
                      <a:pt x="4180953" y="2364222"/>
                    </a:moveTo>
                    <a:cubicBezTo>
                      <a:pt x="4209005" y="2222099"/>
                      <a:pt x="4283176" y="2096636"/>
                      <a:pt x="4392351" y="2004482"/>
                    </a:cubicBezTo>
                    <a:lnTo>
                      <a:pt x="4651927" y="2391292"/>
                    </a:lnTo>
                    <a:cubicBezTo>
                      <a:pt x="4665366" y="2411418"/>
                      <a:pt x="4670196" y="2435574"/>
                      <a:pt x="4665500" y="2459338"/>
                    </a:cubicBezTo>
                    <a:cubicBezTo>
                      <a:pt x="4660785" y="2483227"/>
                      <a:pt x="4647041" y="2503849"/>
                      <a:pt x="4626781" y="2517413"/>
                    </a:cubicBezTo>
                    <a:lnTo>
                      <a:pt x="4239542" y="2776673"/>
                    </a:lnTo>
                    <a:cubicBezTo>
                      <a:pt x="4173781" y="2650134"/>
                      <a:pt x="4152950" y="2506144"/>
                      <a:pt x="4180953" y="2364222"/>
                    </a:cubicBezTo>
                    <a:close/>
                    <a:moveTo>
                      <a:pt x="4708353" y="1455060"/>
                    </a:moveTo>
                    <a:lnTo>
                      <a:pt x="4432071" y="1807285"/>
                    </a:lnTo>
                    <a:lnTo>
                      <a:pt x="3715810" y="739952"/>
                    </a:lnTo>
                    <a:cubicBezTo>
                      <a:pt x="3644029" y="632986"/>
                      <a:pt x="3498478" y="604316"/>
                      <a:pt x="3391359" y="676030"/>
                    </a:cubicBezTo>
                    <a:lnTo>
                      <a:pt x="2758423" y="1099778"/>
                    </a:lnTo>
                    <a:cubicBezTo>
                      <a:pt x="2681671" y="1151175"/>
                      <a:pt x="2761147" y="1269856"/>
                      <a:pt x="2837919" y="1218507"/>
                    </a:cubicBezTo>
                    <a:lnTo>
                      <a:pt x="2962963" y="1134782"/>
                    </a:lnTo>
                    <a:cubicBezTo>
                      <a:pt x="3113601" y="1320091"/>
                      <a:pt x="3337229" y="1419523"/>
                      <a:pt x="3564781" y="1419523"/>
                    </a:cubicBezTo>
                    <a:cubicBezTo>
                      <a:pt x="3691368" y="1419523"/>
                      <a:pt x="3819118" y="1388633"/>
                      <a:pt x="3936228" y="1324806"/>
                    </a:cubicBezTo>
                    <a:lnTo>
                      <a:pt x="4312389" y="1885333"/>
                    </a:lnTo>
                    <a:cubicBezTo>
                      <a:pt x="4171781" y="1999176"/>
                      <a:pt x="4076226" y="2156958"/>
                      <a:pt x="4040774" y="2336542"/>
                    </a:cubicBezTo>
                    <a:cubicBezTo>
                      <a:pt x="4005360" y="2515917"/>
                      <a:pt x="4033687" y="2697949"/>
                      <a:pt x="4120279" y="2856493"/>
                    </a:cubicBezTo>
                    <a:lnTo>
                      <a:pt x="3052517" y="3571363"/>
                    </a:lnTo>
                    <a:cubicBezTo>
                      <a:pt x="3052412" y="3571439"/>
                      <a:pt x="3052298" y="3571506"/>
                      <a:pt x="3052193" y="3571582"/>
                    </a:cubicBezTo>
                    <a:lnTo>
                      <a:pt x="1847138" y="4378378"/>
                    </a:lnTo>
                    <a:cubicBezTo>
                      <a:pt x="1612670" y="4090257"/>
                      <a:pt x="1201733" y="4010094"/>
                      <a:pt x="874216" y="4188612"/>
                    </a:cubicBezTo>
                    <a:lnTo>
                      <a:pt x="498036" y="3628056"/>
                    </a:lnTo>
                    <a:cubicBezTo>
                      <a:pt x="638644" y="3514213"/>
                      <a:pt x="734199" y="3356432"/>
                      <a:pt x="769651" y="3176847"/>
                    </a:cubicBezTo>
                    <a:cubicBezTo>
                      <a:pt x="805084" y="2997349"/>
                      <a:pt x="776699" y="2815193"/>
                      <a:pt x="689955" y="2656563"/>
                    </a:cubicBezTo>
                    <a:lnTo>
                      <a:pt x="2506049" y="1440678"/>
                    </a:lnTo>
                    <a:cubicBezTo>
                      <a:pt x="2582792" y="1389281"/>
                      <a:pt x="2503306" y="1270571"/>
                      <a:pt x="2426553" y="1321949"/>
                    </a:cubicBezTo>
                    <a:lnTo>
                      <a:pt x="1895887" y="1677231"/>
                    </a:lnTo>
                    <a:lnTo>
                      <a:pt x="3072110" y="177720"/>
                    </a:lnTo>
                    <a:cubicBezTo>
                      <a:pt x="3103104" y="138210"/>
                      <a:pt x="3160483" y="131143"/>
                      <a:pt x="3200040" y="162023"/>
                    </a:cubicBezTo>
                    <a:lnTo>
                      <a:pt x="4692884" y="1327416"/>
                    </a:lnTo>
                    <a:cubicBezTo>
                      <a:pt x="4712020" y="1342351"/>
                      <a:pt x="4724164" y="1363830"/>
                      <a:pt x="4727107" y="1387919"/>
                    </a:cubicBezTo>
                    <a:cubicBezTo>
                      <a:pt x="4730051" y="1412046"/>
                      <a:pt x="4723393" y="1435887"/>
                      <a:pt x="4708353" y="1455060"/>
                    </a:cubicBezTo>
                    <a:close/>
                    <a:moveTo>
                      <a:pt x="3470855" y="795207"/>
                    </a:moveTo>
                    <a:cubicBezTo>
                      <a:pt x="3512727" y="767194"/>
                      <a:pt x="3569467" y="778281"/>
                      <a:pt x="3597395" y="819895"/>
                    </a:cubicBezTo>
                    <a:lnTo>
                      <a:pt x="3728259" y="1014891"/>
                    </a:lnTo>
                    <a:lnTo>
                      <a:pt x="3856284" y="1205667"/>
                    </a:lnTo>
                    <a:cubicBezTo>
                      <a:pt x="3594899" y="1341180"/>
                      <a:pt x="3272240" y="1278429"/>
                      <a:pt x="3082540" y="1055201"/>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75" name="Freeform 90">
                <a:extLst>
                  <a:ext uri="{FF2B5EF4-FFF2-40B4-BE49-F238E27FC236}">
                    <a16:creationId xmlns:a16="http://schemas.microsoft.com/office/drawing/2014/main" id="{FF91DF05-4A75-4E7B-A89D-8D5BC58657A0}"/>
                  </a:ext>
                </a:extLst>
              </p:cNvPr>
              <p:cNvSpPr/>
              <p:nvPr/>
            </p:nvSpPr>
            <p:spPr>
              <a:xfrm>
                <a:off x="5126866" y="2809901"/>
                <a:ext cx="1877593" cy="1858915"/>
              </a:xfrm>
              <a:custGeom>
                <a:avLst/>
                <a:gdLst>
                  <a:gd name="connsiteX0" fmla="*/ 416236 w 1877593"/>
                  <a:gd name="connsiteY0" fmla="*/ 158421 h 1858915"/>
                  <a:gd name="connsiteX1" fmla="*/ 18015 w 1877593"/>
                  <a:gd name="connsiteY1" fmla="*/ 755782 h 1858915"/>
                  <a:gd name="connsiteX2" fmla="*/ 159271 w 1877593"/>
                  <a:gd name="connsiteY2" fmla="*/ 1459241 h 1858915"/>
                  <a:gd name="connsiteX3" fmla="*/ 759346 w 1877593"/>
                  <a:gd name="connsiteY3" fmla="*/ 1857472 h 1858915"/>
                  <a:gd name="connsiteX4" fmla="*/ 786654 w 1877593"/>
                  <a:gd name="connsiteY4" fmla="*/ 1717226 h 1858915"/>
                  <a:gd name="connsiteX5" fmla="*/ 277905 w 1877593"/>
                  <a:gd name="connsiteY5" fmla="*/ 1379622 h 1858915"/>
                  <a:gd name="connsiteX6" fmla="*/ 158185 w 1877593"/>
                  <a:gd name="connsiteY6" fmla="*/ 783433 h 1858915"/>
                  <a:gd name="connsiteX7" fmla="*/ 495732 w 1877593"/>
                  <a:gd name="connsiteY7" fmla="*/ 277132 h 1858915"/>
                  <a:gd name="connsiteX8" fmla="*/ 1599698 w 1877593"/>
                  <a:gd name="connsiteY8" fmla="*/ 494854 h 1858915"/>
                  <a:gd name="connsiteX9" fmla="*/ 1719418 w 1877593"/>
                  <a:gd name="connsiteY9" fmla="*/ 1091053 h 1858915"/>
                  <a:gd name="connsiteX10" fmla="*/ 1381871 w 1877593"/>
                  <a:gd name="connsiteY10" fmla="*/ 1597335 h 1858915"/>
                  <a:gd name="connsiteX11" fmla="*/ 1157177 w 1877593"/>
                  <a:gd name="connsiteY11" fmla="*/ 1701652 h 1858915"/>
                  <a:gd name="connsiteX12" fmla="*/ 1196353 w 1877593"/>
                  <a:gd name="connsiteY12" fmla="*/ 1839051 h 1858915"/>
                  <a:gd name="connsiteX13" fmla="*/ 1461357 w 1877593"/>
                  <a:gd name="connsiteY13" fmla="*/ 1716054 h 1858915"/>
                  <a:gd name="connsiteX14" fmla="*/ 1859579 w 1877593"/>
                  <a:gd name="connsiteY14" fmla="*/ 1118713 h 1858915"/>
                  <a:gd name="connsiteX15" fmla="*/ 1718323 w 1877593"/>
                  <a:gd name="connsiteY15" fmla="*/ 415235 h 1858915"/>
                  <a:gd name="connsiteX16" fmla="*/ 416236 w 1877593"/>
                  <a:gd name="connsiteY16" fmla="*/ 158421 h 185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7593" h="1858915">
                    <a:moveTo>
                      <a:pt x="416236" y="158421"/>
                    </a:moveTo>
                    <a:cubicBezTo>
                      <a:pt x="207953" y="297877"/>
                      <a:pt x="66526" y="510018"/>
                      <a:pt x="18015" y="755782"/>
                    </a:cubicBezTo>
                    <a:cubicBezTo>
                      <a:pt x="-30477" y="1001432"/>
                      <a:pt x="19692" y="1251263"/>
                      <a:pt x="159271" y="1459241"/>
                    </a:cubicBezTo>
                    <a:cubicBezTo>
                      <a:pt x="299336" y="1667963"/>
                      <a:pt x="512448" y="1809390"/>
                      <a:pt x="759346" y="1857472"/>
                    </a:cubicBezTo>
                    <a:cubicBezTo>
                      <a:pt x="847185" y="1874560"/>
                      <a:pt x="875799" y="1734600"/>
                      <a:pt x="786654" y="1717226"/>
                    </a:cubicBezTo>
                    <a:cubicBezTo>
                      <a:pt x="577323" y="1676459"/>
                      <a:pt x="396653" y="1556568"/>
                      <a:pt x="277905" y="1379622"/>
                    </a:cubicBezTo>
                    <a:cubicBezTo>
                      <a:pt x="159604" y="1203352"/>
                      <a:pt x="117085" y="991621"/>
                      <a:pt x="158185" y="783433"/>
                    </a:cubicBezTo>
                    <a:cubicBezTo>
                      <a:pt x="199295" y="575150"/>
                      <a:pt x="319167" y="395337"/>
                      <a:pt x="495732" y="277132"/>
                    </a:cubicBezTo>
                    <a:cubicBezTo>
                      <a:pt x="860159" y="33139"/>
                      <a:pt x="1355401" y="130818"/>
                      <a:pt x="1599698" y="494854"/>
                    </a:cubicBezTo>
                    <a:cubicBezTo>
                      <a:pt x="1717999" y="671133"/>
                      <a:pt x="1760509" y="882864"/>
                      <a:pt x="1719418" y="1091053"/>
                    </a:cubicBezTo>
                    <a:cubicBezTo>
                      <a:pt x="1678299" y="1299335"/>
                      <a:pt x="1558427" y="1479139"/>
                      <a:pt x="1381871" y="1597335"/>
                    </a:cubicBezTo>
                    <a:cubicBezTo>
                      <a:pt x="1312386" y="1643855"/>
                      <a:pt x="1236796" y="1678954"/>
                      <a:pt x="1157177" y="1701652"/>
                    </a:cubicBezTo>
                    <a:cubicBezTo>
                      <a:pt x="1068346" y="1726970"/>
                      <a:pt x="1107523" y="1864359"/>
                      <a:pt x="1196353" y="1839051"/>
                    </a:cubicBezTo>
                    <a:cubicBezTo>
                      <a:pt x="1290307" y="1812257"/>
                      <a:pt x="1379471" y="1770880"/>
                      <a:pt x="1461357" y="1716054"/>
                    </a:cubicBezTo>
                    <a:cubicBezTo>
                      <a:pt x="1669641" y="1576599"/>
                      <a:pt x="1811068" y="1364468"/>
                      <a:pt x="1859579" y="1118713"/>
                    </a:cubicBezTo>
                    <a:cubicBezTo>
                      <a:pt x="1908070" y="873054"/>
                      <a:pt x="1857902" y="623223"/>
                      <a:pt x="1718323" y="415235"/>
                    </a:cubicBezTo>
                    <a:cubicBezTo>
                      <a:pt x="1430173" y="-14124"/>
                      <a:pt x="846080" y="-129348"/>
                      <a:pt x="416236" y="158421"/>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93">
                <a:extLst>
                  <a:ext uri="{FF2B5EF4-FFF2-40B4-BE49-F238E27FC236}">
                    <a16:creationId xmlns:a16="http://schemas.microsoft.com/office/drawing/2014/main" id="{6091B2AC-2801-41F6-B0B1-99D6F5A53EB0}"/>
                  </a:ext>
                </a:extLst>
              </p:cNvPr>
              <p:cNvSpPr/>
              <p:nvPr/>
            </p:nvSpPr>
            <p:spPr>
              <a:xfrm>
                <a:off x="7082136" y="2722188"/>
                <a:ext cx="479176" cy="368045"/>
              </a:xfrm>
              <a:custGeom>
                <a:avLst/>
                <a:gdLst>
                  <a:gd name="connsiteX0" fmla="*/ 71501 w 479176"/>
                  <a:gd name="connsiteY0" fmla="*/ 368045 h 368045"/>
                  <a:gd name="connsiteX1" fmla="*/ 111182 w 479176"/>
                  <a:gd name="connsiteY1" fmla="*/ 355958 h 368045"/>
                  <a:gd name="connsiteX2" fmla="*/ 447481 w 479176"/>
                  <a:gd name="connsiteY2" fmla="*/ 130806 h 368045"/>
                  <a:gd name="connsiteX3" fmla="*/ 467103 w 479176"/>
                  <a:gd name="connsiteY3" fmla="*/ 31698 h 368045"/>
                  <a:gd name="connsiteX4" fmla="*/ 367995 w 479176"/>
                  <a:gd name="connsiteY4" fmla="*/ 12077 h 368045"/>
                  <a:gd name="connsiteX5" fmla="*/ 31696 w 479176"/>
                  <a:gd name="connsiteY5" fmla="*/ 237229 h 368045"/>
                  <a:gd name="connsiteX6" fmla="*/ 12074 w 479176"/>
                  <a:gd name="connsiteY6" fmla="*/ 336336 h 368045"/>
                  <a:gd name="connsiteX7" fmla="*/ 71501 w 479176"/>
                  <a:gd name="connsiteY7" fmla="*/ 368045 h 368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9176" h="368045">
                    <a:moveTo>
                      <a:pt x="71501" y="368045"/>
                    </a:moveTo>
                    <a:cubicBezTo>
                      <a:pt x="85169" y="368045"/>
                      <a:pt x="98980" y="364130"/>
                      <a:pt x="111182" y="355958"/>
                    </a:cubicBezTo>
                    <a:lnTo>
                      <a:pt x="447481" y="130806"/>
                    </a:lnTo>
                    <a:cubicBezTo>
                      <a:pt x="480256" y="108851"/>
                      <a:pt x="489038" y="64483"/>
                      <a:pt x="467103" y="31698"/>
                    </a:cubicBezTo>
                    <a:cubicBezTo>
                      <a:pt x="445147" y="-1087"/>
                      <a:pt x="400770" y="-9859"/>
                      <a:pt x="367995" y="12077"/>
                    </a:cubicBezTo>
                    <a:lnTo>
                      <a:pt x="31696" y="237229"/>
                    </a:lnTo>
                    <a:cubicBezTo>
                      <a:pt x="-1080" y="259184"/>
                      <a:pt x="-9862" y="303551"/>
                      <a:pt x="12074" y="336336"/>
                    </a:cubicBezTo>
                    <a:cubicBezTo>
                      <a:pt x="25847" y="356929"/>
                      <a:pt x="48459" y="368045"/>
                      <a:pt x="71501" y="368045"/>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95">
                <a:extLst>
                  <a:ext uri="{FF2B5EF4-FFF2-40B4-BE49-F238E27FC236}">
                    <a16:creationId xmlns:a16="http://schemas.microsoft.com/office/drawing/2014/main" id="{D7E64732-96DB-45D4-94A6-DE86EB10B3ED}"/>
                  </a:ext>
                </a:extLst>
              </p:cNvPr>
              <p:cNvSpPr/>
              <p:nvPr/>
            </p:nvSpPr>
            <p:spPr>
              <a:xfrm>
                <a:off x="4570022" y="4404066"/>
                <a:ext cx="479167" cy="368043"/>
              </a:xfrm>
              <a:custGeom>
                <a:avLst/>
                <a:gdLst>
                  <a:gd name="connsiteX0" fmla="*/ 367985 w 479167"/>
                  <a:gd name="connsiteY0" fmla="*/ 12085 h 368043"/>
                  <a:gd name="connsiteX1" fmla="*/ 31696 w 479167"/>
                  <a:gd name="connsiteY1" fmla="*/ 237237 h 368043"/>
                  <a:gd name="connsiteX2" fmla="*/ 12074 w 479167"/>
                  <a:gd name="connsiteY2" fmla="*/ 336335 h 368043"/>
                  <a:gd name="connsiteX3" fmla="*/ 71501 w 479167"/>
                  <a:gd name="connsiteY3" fmla="*/ 368044 h 368043"/>
                  <a:gd name="connsiteX4" fmla="*/ 111182 w 479167"/>
                  <a:gd name="connsiteY4" fmla="*/ 355956 h 368043"/>
                  <a:gd name="connsiteX5" fmla="*/ 447471 w 479167"/>
                  <a:gd name="connsiteY5" fmla="*/ 130804 h 368043"/>
                  <a:gd name="connsiteX6" fmla="*/ 467093 w 479167"/>
                  <a:gd name="connsiteY6" fmla="*/ 31706 h 368043"/>
                  <a:gd name="connsiteX7" fmla="*/ 367985 w 479167"/>
                  <a:gd name="connsiteY7" fmla="*/ 12085 h 368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9167" h="368043">
                    <a:moveTo>
                      <a:pt x="367985" y="12085"/>
                    </a:moveTo>
                    <a:lnTo>
                      <a:pt x="31696" y="237237"/>
                    </a:lnTo>
                    <a:cubicBezTo>
                      <a:pt x="-1080" y="259182"/>
                      <a:pt x="-9862" y="303550"/>
                      <a:pt x="12074" y="336335"/>
                    </a:cubicBezTo>
                    <a:cubicBezTo>
                      <a:pt x="25857" y="356919"/>
                      <a:pt x="48460" y="368044"/>
                      <a:pt x="71501" y="368044"/>
                    </a:cubicBezTo>
                    <a:cubicBezTo>
                      <a:pt x="85169" y="368044"/>
                      <a:pt x="98980" y="364129"/>
                      <a:pt x="111182" y="355956"/>
                    </a:cubicBezTo>
                    <a:lnTo>
                      <a:pt x="447471" y="130804"/>
                    </a:lnTo>
                    <a:cubicBezTo>
                      <a:pt x="480247" y="108859"/>
                      <a:pt x="489029" y="64492"/>
                      <a:pt x="467093" y="31706"/>
                    </a:cubicBezTo>
                    <a:cubicBezTo>
                      <a:pt x="445128" y="-1078"/>
                      <a:pt x="400770" y="-9870"/>
                      <a:pt x="367985" y="12085"/>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78" name="Freeform 97">
                <a:extLst>
                  <a:ext uri="{FF2B5EF4-FFF2-40B4-BE49-F238E27FC236}">
                    <a16:creationId xmlns:a16="http://schemas.microsoft.com/office/drawing/2014/main" id="{A4991F31-7165-44CD-9986-AF24F691438E}"/>
                  </a:ext>
                </a:extLst>
              </p:cNvPr>
              <p:cNvSpPr/>
              <p:nvPr/>
            </p:nvSpPr>
            <p:spPr>
              <a:xfrm>
                <a:off x="5627081" y="3181555"/>
                <a:ext cx="860938" cy="1114581"/>
              </a:xfrm>
              <a:custGeom>
                <a:avLst/>
                <a:gdLst>
                  <a:gd name="connsiteX0" fmla="*/ 692318 w 860938"/>
                  <a:gd name="connsiteY0" fmla="*/ 1082264 h 1114581"/>
                  <a:gd name="connsiteX1" fmla="*/ 810951 w 860938"/>
                  <a:gd name="connsiteY1" fmla="*/ 1002654 h 1114581"/>
                  <a:gd name="connsiteX2" fmla="*/ 772461 w 860938"/>
                  <a:gd name="connsiteY2" fmla="*/ 945304 h 1114581"/>
                  <a:gd name="connsiteX3" fmla="*/ 831954 w 860938"/>
                  <a:gd name="connsiteY3" fmla="*/ 588402 h 1114581"/>
                  <a:gd name="connsiteX4" fmla="*/ 433942 w 860938"/>
                  <a:gd name="connsiteY4" fmla="*/ 440860 h 1114581"/>
                  <a:gd name="connsiteX5" fmla="*/ 271875 w 860938"/>
                  <a:gd name="connsiteY5" fmla="*/ 199353 h 1114581"/>
                  <a:gd name="connsiteX6" fmla="*/ 347446 w 860938"/>
                  <a:gd name="connsiteY6" fmla="*/ 189962 h 1114581"/>
                  <a:gd name="connsiteX7" fmla="*/ 368534 w 860938"/>
                  <a:gd name="connsiteY7" fmla="*/ 48658 h 1114581"/>
                  <a:gd name="connsiteX8" fmla="*/ 190436 w 860938"/>
                  <a:gd name="connsiteY8" fmla="*/ 78005 h 1114581"/>
                  <a:gd name="connsiteX9" fmla="*/ 159003 w 860938"/>
                  <a:gd name="connsiteY9" fmla="*/ 31170 h 1114581"/>
                  <a:gd name="connsiteX10" fmla="*/ 40369 w 860938"/>
                  <a:gd name="connsiteY10" fmla="*/ 110780 h 1114581"/>
                  <a:gd name="connsiteX11" fmla="*/ 74650 w 860938"/>
                  <a:gd name="connsiteY11" fmla="*/ 161872 h 1114581"/>
                  <a:gd name="connsiteX12" fmla="*/ 22015 w 860938"/>
                  <a:gd name="connsiteY12" fmla="*/ 459138 h 1114581"/>
                  <a:gd name="connsiteX13" fmla="*/ 368696 w 860938"/>
                  <a:gd name="connsiteY13" fmla="*/ 600042 h 1114581"/>
                  <a:gd name="connsiteX14" fmla="*/ 577246 w 860938"/>
                  <a:gd name="connsiteY14" fmla="*/ 910814 h 1114581"/>
                  <a:gd name="connsiteX15" fmla="*/ 440257 w 860938"/>
                  <a:gd name="connsiteY15" fmla="*/ 941008 h 1114581"/>
                  <a:gd name="connsiteX16" fmla="*/ 441991 w 860938"/>
                  <a:gd name="connsiteY16" fmla="*/ 1083873 h 1114581"/>
                  <a:gd name="connsiteX17" fmla="*/ 657094 w 860938"/>
                  <a:gd name="connsiteY17" fmla="*/ 1029790 h 1114581"/>
                  <a:gd name="connsiteX18" fmla="*/ 228336 w 860938"/>
                  <a:gd name="connsiteY18" fmla="*/ 467844 h 1114581"/>
                  <a:gd name="connsiteX19" fmla="*/ 153384 w 860938"/>
                  <a:gd name="connsiteY19" fmla="*/ 402950 h 1114581"/>
                  <a:gd name="connsiteX20" fmla="*/ 158108 w 860938"/>
                  <a:gd name="connsiteY20" fmla="*/ 286212 h 1114581"/>
                  <a:gd name="connsiteX21" fmla="*/ 279676 w 860938"/>
                  <a:gd name="connsiteY21" fmla="*/ 467358 h 1114581"/>
                  <a:gd name="connsiteX22" fmla="*/ 228336 w 860938"/>
                  <a:gd name="connsiteY22" fmla="*/ 467844 h 1114581"/>
                  <a:gd name="connsiteX23" fmla="*/ 523715 w 860938"/>
                  <a:gd name="connsiteY23" fmla="*/ 565837 h 1114581"/>
                  <a:gd name="connsiteX24" fmla="*/ 701719 w 860938"/>
                  <a:gd name="connsiteY24" fmla="*/ 647162 h 1114581"/>
                  <a:gd name="connsiteX25" fmla="*/ 689155 w 860938"/>
                  <a:gd name="connsiteY25" fmla="*/ 821155 h 1114581"/>
                  <a:gd name="connsiteX26" fmla="*/ 518677 w 860938"/>
                  <a:gd name="connsiteY26" fmla="*/ 567114 h 1114581"/>
                  <a:gd name="connsiteX27" fmla="*/ 523715 w 860938"/>
                  <a:gd name="connsiteY27" fmla="*/ 565837 h 111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60938" h="1114581">
                    <a:moveTo>
                      <a:pt x="692318" y="1082264"/>
                    </a:moveTo>
                    <a:cubicBezTo>
                      <a:pt x="746172" y="1162521"/>
                      <a:pt x="860843" y="1076987"/>
                      <a:pt x="810951" y="1002654"/>
                    </a:cubicBezTo>
                    <a:lnTo>
                      <a:pt x="772461" y="945304"/>
                    </a:lnTo>
                    <a:cubicBezTo>
                      <a:pt x="875464" y="839148"/>
                      <a:pt x="878817" y="692282"/>
                      <a:pt x="831954" y="588402"/>
                    </a:cubicBezTo>
                    <a:cubicBezTo>
                      <a:pt x="754582" y="416933"/>
                      <a:pt x="595477" y="402779"/>
                      <a:pt x="433942" y="440860"/>
                    </a:cubicBezTo>
                    <a:lnTo>
                      <a:pt x="271875" y="199353"/>
                    </a:lnTo>
                    <a:cubicBezTo>
                      <a:pt x="312584" y="186133"/>
                      <a:pt x="344312" y="189581"/>
                      <a:pt x="347446" y="189962"/>
                    </a:cubicBezTo>
                    <a:cubicBezTo>
                      <a:pt x="438391" y="203078"/>
                      <a:pt x="459403" y="62698"/>
                      <a:pt x="368534" y="48658"/>
                    </a:cubicBezTo>
                    <a:cubicBezTo>
                      <a:pt x="363591" y="47906"/>
                      <a:pt x="282590" y="36400"/>
                      <a:pt x="190436" y="78005"/>
                    </a:cubicBezTo>
                    <a:lnTo>
                      <a:pt x="159003" y="31170"/>
                    </a:lnTo>
                    <a:cubicBezTo>
                      <a:pt x="107521" y="-45515"/>
                      <a:pt x="-11113" y="34085"/>
                      <a:pt x="40369" y="110780"/>
                    </a:cubicBezTo>
                    <a:lnTo>
                      <a:pt x="74650" y="161872"/>
                    </a:lnTo>
                    <a:cubicBezTo>
                      <a:pt x="421" y="241492"/>
                      <a:pt x="-21057" y="358459"/>
                      <a:pt x="22015" y="459138"/>
                    </a:cubicBezTo>
                    <a:cubicBezTo>
                      <a:pt x="85118" y="606671"/>
                      <a:pt x="226526" y="624206"/>
                      <a:pt x="368696" y="600042"/>
                    </a:cubicBezTo>
                    <a:lnTo>
                      <a:pt x="577246" y="910814"/>
                    </a:lnTo>
                    <a:cubicBezTo>
                      <a:pt x="535917" y="933264"/>
                      <a:pt x="502665" y="940255"/>
                      <a:pt x="440257" y="941008"/>
                    </a:cubicBezTo>
                    <a:cubicBezTo>
                      <a:pt x="349999" y="942103"/>
                      <a:pt x="353770" y="1085255"/>
                      <a:pt x="441991" y="1083873"/>
                    </a:cubicBezTo>
                    <a:cubicBezTo>
                      <a:pt x="539337" y="1082692"/>
                      <a:pt x="595553" y="1065338"/>
                      <a:pt x="657094" y="1029790"/>
                    </a:cubicBezTo>
                    <a:close/>
                    <a:moveTo>
                      <a:pt x="228336" y="467844"/>
                    </a:moveTo>
                    <a:cubicBezTo>
                      <a:pt x="198732" y="465663"/>
                      <a:pt x="169309" y="440193"/>
                      <a:pt x="153384" y="402950"/>
                    </a:cubicBezTo>
                    <a:cubicBezTo>
                      <a:pt x="139715" y="371003"/>
                      <a:pt x="134953" y="325388"/>
                      <a:pt x="158108" y="286212"/>
                    </a:cubicBezTo>
                    <a:lnTo>
                      <a:pt x="279676" y="467358"/>
                    </a:lnTo>
                    <a:cubicBezTo>
                      <a:pt x="261359" y="468692"/>
                      <a:pt x="244052" y="468997"/>
                      <a:pt x="228336" y="467844"/>
                    </a:cubicBezTo>
                    <a:close/>
                    <a:moveTo>
                      <a:pt x="523715" y="565837"/>
                    </a:moveTo>
                    <a:cubicBezTo>
                      <a:pt x="641292" y="535700"/>
                      <a:pt x="689670" y="620463"/>
                      <a:pt x="701719" y="647162"/>
                    </a:cubicBezTo>
                    <a:cubicBezTo>
                      <a:pt x="724322" y="697244"/>
                      <a:pt x="726007" y="765215"/>
                      <a:pt x="689155" y="821155"/>
                    </a:cubicBezTo>
                    <a:lnTo>
                      <a:pt x="518677" y="567114"/>
                    </a:lnTo>
                    <a:cubicBezTo>
                      <a:pt x="520372" y="566676"/>
                      <a:pt x="521991" y="566285"/>
                      <a:pt x="523715" y="565837"/>
                    </a:cubicBezTo>
                    <a:close/>
                  </a:path>
                </a:pathLst>
              </a:custGeom>
              <a:grpFill/>
              <a:ln w="9525" cap="flat">
                <a:noFill/>
                <a:prstDash val="solid"/>
                <a:miter/>
              </a:ln>
            </p:spPr>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grpSp>
      </p:grpSp>
      <p:cxnSp>
        <p:nvCxnSpPr>
          <p:cNvPr id="79" name="Conector recto 231">
            <a:extLst>
              <a:ext uri="{FF2B5EF4-FFF2-40B4-BE49-F238E27FC236}">
                <a16:creationId xmlns:a16="http://schemas.microsoft.com/office/drawing/2014/main" id="{8D2F1E95-C890-4EE2-9674-9880A37B35C2}"/>
              </a:ext>
            </a:extLst>
          </p:cNvPr>
          <p:cNvCxnSpPr>
            <a:cxnSpLocks/>
          </p:cNvCxnSpPr>
          <p:nvPr/>
        </p:nvCxnSpPr>
        <p:spPr>
          <a:xfrm flipH="1">
            <a:off x="7337425" y="6058099"/>
            <a:ext cx="202164" cy="0"/>
          </a:xfrm>
          <a:prstGeom prst="line">
            <a:avLst/>
          </a:prstGeom>
          <a:ln w="12700" cap="rnd">
            <a:solidFill>
              <a:schemeClr val="accent6"/>
            </a:solidFill>
            <a:prstDash val="dash"/>
            <a:tailEnd type="none" w="med" len="med"/>
          </a:ln>
        </p:spPr>
        <p:style>
          <a:lnRef idx="1">
            <a:schemeClr val="accent1"/>
          </a:lnRef>
          <a:fillRef idx="0">
            <a:schemeClr val="accent1"/>
          </a:fillRef>
          <a:effectRef idx="0">
            <a:schemeClr val="accent1"/>
          </a:effectRef>
          <a:fontRef idx="minor">
            <a:schemeClr val="tx1"/>
          </a:fontRef>
        </p:style>
      </p:cxnSp>
      <p:cxnSp>
        <p:nvCxnSpPr>
          <p:cNvPr id="80" name="Conector recto 231">
            <a:extLst>
              <a:ext uri="{FF2B5EF4-FFF2-40B4-BE49-F238E27FC236}">
                <a16:creationId xmlns:a16="http://schemas.microsoft.com/office/drawing/2014/main" id="{8B3E58B3-B534-4939-82BE-BFE0902E7D45}"/>
              </a:ext>
            </a:extLst>
          </p:cNvPr>
          <p:cNvCxnSpPr>
            <a:cxnSpLocks/>
          </p:cNvCxnSpPr>
          <p:nvPr/>
        </p:nvCxnSpPr>
        <p:spPr>
          <a:xfrm flipH="1">
            <a:off x="3952875" y="6058099"/>
            <a:ext cx="202164" cy="0"/>
          </a:xfrm>
          <a:prstGeom prst="line">
            <a:avLst/>
          </a:prstGeom>
          <a:ln w="12700" cap="rnd">
            <a:solidFill>
              <a:schemeClr val="accent6"/>
            </a:solidFill>
            <a:prstDash val="dash"/>
            <a:tailEnd type="none" w="med" len="med"/>
          </a:ln>
        </p:spPr>
        <p:style>
          <a:lnRef idx="1">
            <a:schemeClr val="accent1"/>
          </a:lnRef>
          <a:fillRef idx="0">
            <a:schemeClr val="accent1"/>
          </a:fillRef>
          <a:effectRef idx="0">
            <a:schemeClr val="accent1"/>
          </a:effectRef>
          <a:fontRef idx="minor">
            <a:schemeClr val="tx1"/>
          </a:fontRef>
        </p:style>
      </p:cxnSp>
      <p:grpSp>
        <p:nvGrpSpPr>
          <p:cNvPr id="54" name="Grupo 6">
            <a:extLst>
              <a:ext uri="{FF2B5EF4-FFF2-40B4-BE49-F238E27FC236}">
                <a16:creationId xmlns:a16="http://schemas.microsoft.com/office/drawing/2014/main" id="{1E430288-F706-2EC6-21D8-5377420D3734}"/>
              </a:ext>
            </a:extLst>
          </p:cNvPr>
          <p:cNvGrpSpPr/>
          <p:nvPr/>
        </p:nvGrpSpPr>
        <p:grpSpPr>
          <a:xfrm>
            <a:off x="569601" y="3052533"/>
            <a:ext cx="211152" cy="211152"/>
            <a:chOff x="1147317" y="2114157"/>
            <a:chExt cx="211152" cy="211152"/>
          </a:xfrm>
        </p:grpSpPr>
        <p:sp>
          <p:nvSpPr>
            <p:cNvPr id="55" name="Oval 20">
              <a:extLst>
                <a:ext uri="{FF2B5EF4-FFF2-40B4-BE49-F238E27FC236}">
                  <a16:creationId xmlns:a16="http://schemas.microsoft.com/office/drawing/2014/main" id="{143CC7F0-1585-06E2-E9FE-0D969C213392}"/>
                </a:ext>
              </a:extLst>
            </p:cNvPr>
            <p:cNvSpPr>
              <a:spLocks noChangeAspect="1" noChangeArrowheads="1"/>
            </p:cNvSpPr>
            <p:nvPr/>
          </p:nvSpPr>
          <p:spPr bwMode="auto">
            <a:xfrm>
              <a:off x="1147317" y="2114157"/>
              <a:ext cx="211152" cy="211152"/>
            </a:xfrm>
            <a:prstGeom prst="ellipse">
              <a:avLst/>
            </a:prstGeom>
            <a:solidFill>
              <a:srgbClr val="FFFFFF"/>
            </a:solidFill>
            <a:ln w="952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43ABB6"/>
                </a:solidFill>
                <a:effectLst/>
                <a:uLnTx/>
                <a:uFillTx/>
                <a:latin typeface="Arial"/>
                <a:ea typeface="+mn-ea"/>
                <a:cs typeface="Arial" panose="020B0604020202020204" pitchFamily="34" charset="0"/>
              </a:endParaRPr>
            </a:p>
          </p:txBody>
        </p:sp>
        <p:cxnSp>
          <p:nvCxnSpPr>
            <p:cNvPr id="81" name="Conector recto 8">
              <a:extLst>
                <a:ext uri="{FF2B5EF4-FFF2-40B4-BE49-F238E27FC236}">
                  <a16:creationId xmlns:a16="http://schemas.microsoft.com/office/drawing/2014/main" id="{BAFAF374-0A39-FF45-AF8E-4C1B03CD245A}"/>
                </a:ext>
              </a:extLst>
            </p:cNvPr>
            <p:cNvCxnSpPr>
              <a:cxnSpLocks/>
            </p:cNvCxnSpPr>
            <p:nvPr/>
          </p:nvCxnSpPr>
          <p:spPr>
            <a:xfrm flipV="1">
              <a:off x="1252893" y="2215922"/>
              <a:ext cx="0" cy="26201"/>
            </a:xfrm>
            <a:prstGeom prst="line">
              <a:avLst/>
            </a:prstGeom>
            <a:noFill/>
            <a:ln w="12700" cap="flat" cmpd="sng" algn="ctr">
              <a:solidFill>
                <a:srgbClr val="5A2259"/>
              </a:solidFill>
              <a:prstDash val="dash"/>
              <a:headEnd w="lg" len="med"/>
              <a:tailEnd type="diamond" w="lg" len="lg"/>
            </a:ln>
            <a:effectLst/>
          </p:spPr>
        </p:cxnSp>
      </p:grpSp>
      <p:grpSp>
        <p:nvGrpSpPr>
          <p:cNvPr id="82" name="Grupo 9">
            <a:extLst>
              <a:ext uri="{FF2B5EF4-FFF2-40B4-BE49-F238E27FC236}">
                <a16:creationId xmlns:a16="http://schemas.microsoft.com/office/drawing/2014/main" id="{6572CCFD-EEBF-DBDD-4B14-5A2382D529B4}"/>
              </a:ext>
            </a:extLst>
          </p:cNvPr>
          <p:cNvGrpSpPr/>
          <p:nvPr/>
        </p:nvGrpSpPr>
        <p:grpSpPr>
          <a:xfrm>
            <a:off x="569601" y="3823327"/>
            <a:ext cx="211152" cy="211152"/>
            <a:chOff x="1147317" y="2114157"/>
            <a:chExt cx="211152" cy="211152"/>
          </a:xfrm>
        </p:grpSpPr>
        <p:sp>
          <p:nvSpPr>
            <p:cNvPr id="83" name="Oval 20">
              <a:extLst>
                <a:ext uri="{FF2B5EF4-FFF2-40B4-BE49-F238E27FC236}">
                  <a16:creationId xmlns:a16="http://schemas.microsoft.com/office/drawing/2014/main" id="{2377A130-3FD4-C119-DEBF-7432906A891A}"/>
                </a:ext>
              </a:extLst>
            </p:cNvPr>
            <p:cNvSpPr>
              <a:spLocks noChangeAspect="1" noChangeArrowheads="1"/>
            </p:cNvSpPr>
            <p:nvPr/>
          </p:nvSpPr>
          <p:spPr bwMode="auto">
            <a:xfrm>
              <a:off x="1147317" y="2114157"/>
              <a:ext cx="211152" cy="211152"/>
            </a:xfrm>
            <a:prstGeom prst="ellipse">
              <a:avLst/>
            </a:prstGeom>
            <a:solidFill>
              <a:srgbClr val="FFFFFF"/>
            </a:solidFill>
            <a:ln w="952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43ABB6"/>
                </a:solidFill>
                <a:effectLst/>
                <a:uLnTx/>
                <a:uFillTx/>
                <a:latin typeface="Arial"/>
                <a:ea typeface="+mn-ea"/>
                <a:cs typeface="Arial" panose="020B0604020202020204" pitchFamily="34" charset="0"/>
              </a:endParaRPr>
            </a:p>
          </p:txBody>
        </p:sp>
        <p:cxnSp>
          <p:nvCxnSpPr>
            <p:cNvPr id="84" name="Conector recto 11">
              <a:extLst>
                <a:ext uri="{FF2B5EF4-FFF2-40B4-BE49-F238E27FC236}">
                  <a16:creationId xmlns:a16="http://schemas.microsoft.com/office/drawing/2014/main" id="{8EB67DF0-EFDF-20A2-19BF-1FAFF32D8344}"/>
                </a:ext>
              </a:extLst>
            </p:cNvPr>
            <p:cNvCxnSpPr>
              <a:cxnSpLocks/>
            </p:cNvCxnSpPr>
            <p:nvPr/>
          </p:nvCxnSpPr>
          <p:spPr>
            <a:xfrm flipV="1">
              <a:off x="1252893" y="2215922"/>
              <a:ext cx="0" cy="26201"/>
            </a:xfrm>
            <a:prstGeom prst="line">
              <a:avLst/>
            </a:prstGeom>
            <a:noFill/>
            <a:ln w="12700" cap="flat" cmpd="sng" algn="ctr">
              <a:solidFill>
                <a:srgbClr val="5A2259"/>
              </a:solidFill>
              <a:prstDash val="dash"/>
              <a:headEnd w="lg" len="med"/>
              <a:tailEnd type="diamond" w="lg" len="lg"/>
            </a:ln>
            <a:effectLst/>
          </p:spPr>
        </p:cxnSp>
      </p:grpSp>
      <p:grpSp>
        <p:nvGrpSpPr>
          <p:cNvPr id="85" name="Grupo 12">
            <a:extLst>
              <a:ext uri="{FF2B5EF4-FFF2-40B4-BE49-F238E27FC236}">
                <a16:creationId xmlns:a16="http://schemas.microsoft.com/office/drawing/2014/main" id="{09F802A6-8991-4932-0E90-DD6224925DC2}"/>
              </a:ext>
            </a:extLst>
          </p:cNvPr>
          <p:cNvGrpSpPr/>
          <p:nvPr/>
        </p:nvGrpSpPr>
        <p:grpSpPr>
          <a:xfrm>
            <a:off x="569601" y="4618654"/>
            <a:ext cx="211152" cy="211152"/>
            <a:chOff x="1147317" y="2114157"/>
            <a:chExt cx="211152" cy="211152"/>
          </a:xfrm>
        </p:grpSpPr>
        <p:sp>
          <p:nvSpPr>
            <p:cNvPr id="86" name="Oval 20">
              <a:extLst>
                <a:ext uri="{FF2B5EF4-FFF2-40B4-BE49-F238E27FC236}">
                  <a16:creationId xmlns:a16="http://schemas.microsoft.com/office/drawing/2014/main" id="{E36EC1D0-399A-C89E-2547-45D85C04B32B}"/>
                </a:ext>
              </a:extLst>
            </p:cNvPr>
            <p:cNvSpPr>
              <a:spLocks noChangeAspect="1" noChangeArrowheads="1"/>
            </p:cNvSpPr>
            <p:nvPr/>
          </p:nvSpPr>
          <p:spPr bwMode="auto">
            <a:xfrm>
              <a:off x="1147317" y="2114157"/>
              <a:ext cx="211152" cy="211152"/>
            </a:xfrm>
            <a:prstGeom prst="ellipse">
              <a:avLst/>
            </a:prstGeom>
            <a:solidFill>
              <a:srgbClr val="FFFFFF"/>
            </a:solidFill>
            <a:ln w="952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43ABB6"/>
                </a:solidFill>
                <a:effectLst/>
                <a:uLnTx/>
                <a:uFillTx/>
                <a:latin typeface="Arial"/>
                <a:ea typeface="+mn-ea"/>
                <a:cs typeface="Arial" panose="020B0604020202020204" pitchFamily="34" charset="0"/>
              </a:endParaRPr>
            </a:p>
          </p:txBody>
        </p:sp>
        <p:cxnSp>
          <p:nvCxnSpPr>
            <p:cNvPr id="87" name="Conector recto 14">
              <a:extLst>
                <a:ext uri="{FF2B5EF4-FFF2-40B4-BE49-F238E27FC236}">
                  <a16:creationId xmlns:a16="http://schemas.microsoft.com/office/drawing/2014/main" id="{B4381FBD-A374-3C24-1B98-55CC37664E72}"/>
                </a:ext>
              </a:extLst>
            </p:cNvPr>
            <p:cNvCxnSpPr>
              <a:cxnSpLocks/>
            </p:cNvCxnSpPr>
            <p:nvPr/>
          </p:nvCxnSpPr>
          <p:spPr>
            <a:xfrm flipV="1">
              <a:off x="1252893" y="2215922"/>
              <a:ext cx="0" cy="26201"/>
            </a:xfrm>
            <a:prstGeom prst="line">
              <a:avLst/>
            </a:prstGeom>
            <a:noFill/>
            <a:ln w="12700" cap="flat" cmpd="sng" algn="ctr">
              <a:solidFill>
                <a:srgbClr val="5A2259"/>
              </a:solidFill>
              <a:prstDash val="dash"/>
              <a:headEnd w="lg" len="med"/>
              <a:tailEnd type="diamond" w="lg" len="lg"/>
            </a:ln>
            <a:effectLst/>
          </p:spPr>
        </p:cxnSp>
      </p:grpSp>
      <p:grpSp>
        <p:nvGrpSpPr>
          <p:cNvPr id="88" name="Grupo 18">
            <a:extLst>
              <a:ext uri="{FF2B5EF4-FFF2-40B4-BE49-F238E27FC236}">
                <a16:creationId xmlns:a16="http://schemas.microsoft.com/office/drawing/2014/main" id="{EB2E3959-7726-8984-5C0D-F057CD9E366A}"/>
              </a:ext>
            </a:extLst>
          </p:cNvPr>
          <p:cNvGrpSpPr/>
          <p:nvPr/>
        </p:nvGrpSpPr>
        <p:grpSpPr>
          <a:xfrm>
            <a:off x="569601" y="2508004"/>
            <a:ext cx="211152" cy="211152"/>
            <a:chOff x="1147317" y="2114157"/>
            <a:chExt cx="211152" cy="211152"/>
          </a:xfrm>
        </p:grpSpPr>
        <p:sp>
          <p:nvSpPr>
            <p:cNvPr id="89" name="Oval 20">
              <a:extLst>
                <a:ext uri="{FF2B5EF4-FFF2-40B4-BE49-F238E27FC236}">
                  <a16:creationId xmlns:a16="http://schemas.microsoft.com/office/drawing/2014/main" id="{7E8F60AD-88CD-7090-B4B5-D4C93C4781E6}"/>
                </a:ext>
              </a:extLst>
            </p:cNvPr>
            <p:cNvSpPr>
              <a:spLocks noChangeAspect="1" noChangeArrowheads="1"/>
            </p:cNvSpPr>
            <p:nvPr/>
          </p:nvSpPr>
          <p:spPr bwMode="auto">
            <a:xfrm>
              <a:off x="1147317" y="2114157"/>
              <a:ext cx="211152" cy="211152"/>
            </a:xfrm>
            <a:prstGeom prst="ellipse">
              <a:avLst/>
            </a:prstGeom>
            <a:solidFill>
              <a:srgbClr val="FFFFFF"/>
            </a:solidFill>
            <a:ln w="9525" cap="flat" cmpd="sng" algn="ctr">
              <a:noFill/>
              <a:prstDash val="soli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43ABB6"/>
                </a:solidFill>
                <a:effectLst/>
                <a:uLnTx/>
                <a:uFillTx/>
                <a:latin typeface="Arial"/>
                <a:ea typeface="+mn-ea"/>
                <a:cs typeface="Arial" panose="020B0604020202020204" pitchFamily="34" charset="0"/>
              </a:endParaRPr>
            </a:p>
          </p:txBody>
        </p:sp>
        <p:cxnSp>
          <p:nvCxnSpPr>
            <p:cNvPr id="90" name="Conector recto 20">
              <a:extLst>
                <a:ext uri="{FF2B5EF4-FFF2-40B4-BE49-F238E27FC236}">
                  <a16:creationId xmlns:a16="http://schemas.microsoft.com/office/drawing/2014/main" id="{00B3B13C-3C2A-1FD4-CC46-D66E1644A610}"/>
                </a:ext>
              </a:extLst>
            </p:cNvPr>
            <p:cNvCxnSpPr>
              <a:cxnSpLocks/>
            </p:cNvCxnSpPr>
            <p:nvPr/>
          </p:nvCxnSpPr>
          <p:spPr>
            <a:xfrm flipV="1">
              <a:off x="1252893" y="2215922"/>
              <a:ext cx="0" cy="26201"/>
            </a:xfrm>
            <a:prstGeom prst="line">
              <a:avLst/>
            </a:prstGeom>
            <a:noFill/>
            <a:ln w="12700" cap="flat" cmpd="sng" algn="ctr">
              <a:solidFill>
                <a:srgbClr val="5A2259"/>
              </a:solidFill>
              <a:prstDash val="dash"/>
              <a:headEnd w="lg" len="med"/>
              <a:tailEnd type="diamond" w="lg" len="lg"/>
            </a:ln>
            <a:effectLst/>
          </p:spPr>
        </p:cxnSp>
      </p:grpSp>
    </p:spTree>
    <p:extLst>
      <p:ext uri="{BB962C8B-B14F-4D97-AF65-F5344CB8AC3E}">
        <p14:creationId xmlns:p14="http://schemas.microsoft.com/office/powerpoint/2010/main" val="39350888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89"/>
        <p:cNvGrpSpPr/>
        <p:nvPr/>
      </p:nvGrpSpPr>
      <p:grpSpPr>
        <a:xfrm>
          <a:off x="0" y="0"/>
          <a:ext cx="0" cy="0"/>
          <a:chOff x="0" y="0"/>
          <a:chExt cx="0" cy="0"/>
        </a:xfrm>
      </p:grpSpPr>
      <p:pic>
        <p:nvPicPr>
          <p:cNvPr id="15" name="Imagen 83">
            <a:extLst>
              <a:ext uri="{FF2B5EF4-FFF2-40B4-BE49-F238E27FC236}">
                <a16:creationId xmlns:a16="http://schemas.microsoft.com/office/drawing/2014/main" id="{7A94B51A-2652-31F6-5166-01938AE1E48A}"/>
              </a:ext>
            </a:extLst>
          </p:cNvPr>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l="227" t="25793" r="217" b="45777"/>
          <a:stretch/>
        </p:blipFill>
        <p:spPr bwMode="auto">
          <a:xfrm>
            <a:off x="6257200" y="1331262"/>
            <a:ext cx="5468715" cy="2028165"/>
          </a:xfrm>
          <a:prstGeom prst="rect">
            <a:avLst/>
          </a:prstGeom>
          <a:solidFill>
            <a:srgbClr val="FFFFFF">
              <a:shade val="85000"/>
            </a:srgbClr>
          </a:solidFill>
          <a:ln w="3175" cap="rnd">
            <a:solidFill>
              <a:schemeClr val="tx1"/>
            </a:solidFill>
          </a:ln>
          <a:effectLst>
            <a:outerShdw blurRad="50000" algn="tl" rotWithShape="0">
              <a:srgbClr val="000000">
                <a:alpha val="41000"/>
              </a:srgbClr>
            </a:outerShdw>
          </a:effectLst>
          <a:extLst>
            <a:ext uri="{909E8E84-426E-40dd-AFC4-6F175D3DCCD1}">
              <a14:hiddenFill xmlns="" xmlns:a14="http://schemas.microsoft.com/office/drawing/2010/main">
                <a:solidFill>
                  <a:srgbClr val="FFFFFF"/>
                </a:solidFill>
              </a14:hiddenFill>
            </a:ext>
          </a:extLst>
        </p:spPr>
      </p:pic>
      <p:sp>
        <p:nvSpPr>
          <p:cNvPr id="1094" name="Google Shape;1094;p35"/>
          <p:cNvSpPr txBox="1"/>
          <p:nvPr/>
        </p:nvSpPr>
        <p:spPr>
          <a:xfrm>
            <a:off x="594855" y="2155911"/>
            <a:ext cx="5152627" cy="518000"/>
          </a:xfrm>
          <a:prstGeom prst="rect">
            <a:avLst/>
          </a:prstGeom>
          <a:noFill/>
          <a:ln>
            <a:noFill/>
          </a:ln>
        </p:spPr>
        <p:txBody>
          <a:bodyPr spcFirstLastPara="1" wrap="square" lIns="121900" tIns="121900" rIns="121900" bIns="121900" anchor="ctr" anchorCtr="0">
            <a:noAutofit/>
          </a:bodyPr>
          <a:lstStyle/>
          <a:p>
            <a:r>
              <a:rPr lang="vi-VN" sz="2400" b="1">
                <a:solidFill>
                  <a:schemeClr val="accent5">
                    <a:lumMod val="75000"/>
                  </a:schemeClr>
                </a:solidFill>
                <a:latin typeface="Fira Sans Extra Condensed"/>
                <a:ea typeface="Fira Sans Extra Condensed"/>
                <a:cs typeface="Fira Sans Extra Condensed"/>
                <a:sym typeface="Fira Sans Extra Condensed"/>
              </a:rPr>
              <a:t>Mục tiêu /Định hướng hoạt động</a:t>
            </a:r>
          </a:p>
        </p:txBody>
      </p:sp>
      <p:sp>
        <p:nvSpPr>
          <p:cNvPr id="1096" name="Google Shape;1096;p35"/>
          <p:cNvSpPr/>
          <p:nvPr/>
        </p:nvSpPr>
        <p:spPr>
          <a:xfrm>
            <a:off x="6239516" y="1262951"/>
            <a:ext cx="5486399" cy="2096476"/>
          </a:xfrm>
          <a:prstGeom prst="rect">
            <a:avLst/>
          </a:prstGeom>
          <a:solidFill>
            <a:srgbClr val="FFFFFF">
              <a:alpha val="76863"/>
            </a:srgbClr>
          </a:solidFill>
          <a:ln>
            <a:noFill/>
          </a:ln>
        </p:spPr>
        <p:txBody>
          <a:bodyPr spcFirstLastPara="1" wrap="square" lIns="121900" tIns="121900" rIns="121900" bIns="121900" anchor="ctr" anchorCtr="0">
            <a:noAutofit/>
          </a:bodyPr>
          <a:lstStyle/>
          <a:p>
            <a:endParaRPr lang="vi-VN" sz="2400"/>
          </a:p>
        </p:txBody>
      </p:sp>
      <p:grpSp>
        <p:nvGrpSpPr>
          <p:cNvPr id="1103" name="Google Shape;1103;p35"/>
          <p:cNvGrpSpPr/>
          <p:nvPr/>
        </p:nvGrpSpPr>
        <p:grpSpPr>
          <a:xfrm>
            <a:off x="6900006" y="1540332"/>
            <a:ext cx="3984484" cy="621601"/>
            <a:chOff x="4052624" y="2191649"/>
            <a:chExt cx="1157755" cy="466201"/>
          </a:xfrm>
        </p:grpSpPr>
        <p:sp>
          <p:nvSpPr>
            <p:cNvPr id="1104" name="Google Shape;1104;p35"/>
            <p:cNvSpPr txBox="1"/>
            <p:nvPr/>
          </p:nvSpPr>
          <p:spPr>
            <a:xfrm>
              <a:off x="4052624" y="2191649"/>
              <a:ext cx="1104992" cy="238762"/>
            </a:xfrm>
            <a:prstGeom prst="rect">
              <a:avLst/>
            </a:prstGeom>
            <a:noFill/>
            <a:ln>
              <a:noFill/>
            </a:ln>
          </p:spPr>
          <p:txBody>
            <a:bodyPr spcFirstLastPara="1" wrap="square" lIns="121900" tIns="121900" rIns="121900" bIns="121900" anchor="ctr" anchorCtr="0">
              <a:noAutofit/>
            </a:bodyPr>
            <a:lstStyle/>
            <a:p>
              <a:r>
                <a:rPr lang="vi-VN">
                  <a:solidFill>
                    <a:srgbClr val="000000"/>
                  </a:solidFill>
                  <a:latin typeface="Roboto"/>
                  <a:ea typeface="Roboto"/>
                  <a:cs typeface="Roboto"/>
                  <a:sym typeface="Roboto"/>
                </a:rPr>
                <a:t>Dự án</a:t>
              </a:r>
            </a:p>
          </p:txBody>
        </p:sp>
        <p:sp>
          <p:nvSpPr>
            <p:cNvPr id="1105" name="Google Shape;1105;p35"/>
            <p:cNvSpPr txBox="1"/>
            <p:nvPr/>
          </p:nvSpPr>
          <p:spPr>
            <a:xfrm>
              <a:off x="4052679" y="2424750"/>
              <a:ext cx="1157700" cy="233100"/>
            </a:xfrm>
            <a:prstGeom prst="rect">
              <a:avLst/>
            </a:prstGeom>
            <a:noFill/>
            <a:ln>
              <a:noFill/>
            </a:ln>
          </p:spPr>
          <p:txBody>
            <a:bodyPr spcFirstLastPara="1" wrap="square" lIns="121900" tIns="121900" rIns="121900" bIns="121900" anchor="ctr" anchorCtr="0">
              <a:noAutofit/>
            </a:bodyPr>
            <a:lstStyle/>
            <a:p>
              <a:r>
                <a:rPr lang="vi-VN" sz="2400" b="1" dirty="0">
                  <a:latin typeface="Fira Sans Extra Condensed"/>
                  <a:ea typeface="Fira Sans Extra Condensed"/>
                  <a:cs typeface="Fira Sans Extra Condensed"/>
                  <a:sym typeface="Fira Sans Extra Condensed"/>
                </a:rPr>
                <a:t>9 dự án đang hoạt động</a:t>
              </a:r>
              <a:endParaRPr lang="vi-VN" sz="2400" b="1" dirty="0">
                <a:solidFill>
                  <a:srgbClr val="000000"/>
                </a:solidFill>
                <a:latin typeface="Fira Sans Extra Condensed"/>
                <a:ea typeface="Fira Sans Extra Condensed"/>
                <a:cs typeface="Fira Sans Extra Condensed"/>
                <a:sym typeface="Fira Sans Extra Condensed"/>
              </a:endParaRPr>
            </a:p>
          </p:txBody>
        </p:sp>
      </p:grpSp>
      <p:grpSp>
        <p:nvGrpSpPr>
          <p:cNvPr id="1109" name="Google Shape;1109;p35"/>
          <p:cNvGrpSpPr/>
          <p:nvPr/>
        </p:nvGrpSpPr>
        <p:grpSpPr>
          <a:xfrm>
            <a:off x="6347199" y="1644888"/>
            <a:ext cx="543696" cy="497099"/>
            <a:chOff x="5588419" y="2287479"/>
            <a:chExt cx="403189" cy="366289"/>
          </a:xfrm>
          <a:solidFill>
            <a:schemeClr val="accent5">
              <a:lumMod val="75000"/>
            </a:schemeClr>
          </a:solidFill>
        </p:grpSpPr>
        <p:sp>
          <p:nvSpPr>
            <p:cNvPr id="1110" name="Google Shape;1110;p35"/>
            <p:cNvSpPr/>
            <p:nvPr/>
          </p:nvSpPr>
          <p:spPr>
            <a:xfrm>
              <a:off x="5733226" y="2392246"/>
              <a:ext cx="89597" cy="106525"/>
            </a:xfrm>
            <a:custGeom>
              <a:avLst/>
              <a:gdLst/>
              <a:ahLst/>
              <a:cxnLst/>
              <a:rect l="l" t="t" r="r" b="b"/>
              <a:pathLst>
                <a:path w="2620" h="3115" extrusionOk="0">
                  <a:moveTo>
                    <a:pt x="334" y="1"/>
                  </a:moveTo>
                  <a:cubicBezTo>
                    <a:pt x="179" y="1"/>
                    <a:pt x="24" y="102"/>
                    <a:pt x="24" y="304"/>
                  </a:cubicBezTo>
                  <a:lnTo>
                    <a:pt x="24" y="2805"/>
                  </a:lnTo>
                  <a:cubicBezTo>
                    <a:pt x="0" y="2971"/>
                    <a:pt x="143" y="3114"/>
                    <a:pt x="310" y="3114"/>
                  </a:cubicBezTo>
                  <a:lnTo>
                    <a:pt x="2191" y="3114"/>
                  </a:lnTo>
                  <a:cubicBezTo>
                    <a:pt x="2620" y="3114"/>
                    <a:pt x="2620" y="2495"/>
                    <a:pt x="2191" y="2495"/>
                  </a:cubicBezTo>
                  <a:lnTo>
                    <a:pt x="643" y="2495"/>
                  </a:lnTo>
                  <a:lnTo>
                    <a:pt x="643" y="304"/>
                  </a:lnTo>
                  <a:cubicBezTo>
                    <a:pt x="643" y="102"/>
                    <a:pt x="488" y="1"/>
                    <a:pt x="334" y="1"/>
                  </a:cubicBezTo>
                  <a:close/>
                </a:path>
              </a:pathLst>
            </a:custGeom>
            <a:grpFill/>
            <a:ln>
              <a:noFill/>
            </a:ln>
          </p:spPr>
          <p:txBody>
            <a:bodyPr spcFirstLastPara="1" wrap="square" lIns="121900" tIns="121900" rIns="121900" bIns="121900" anchor="ctr" anchorCtr="0">
              <a:noAutofit/>
            </a:bodyPr>
            <a:lstStyle/>
            <a:p>
              <a:endParaRPr lang="vi-VN" sz="2400"/>
            </a:p>
          </p:txBody>
        </p:sp>
        <p:sp>
          <p:nvSpPr>
            <p:cNvPr id="1111" name="Google Shape;1111;p35"/>
            <p:cNvSpPr/>
            <p:nvPr/>
          </p:nvSpPr>
          <p:spPr>
            <a:xfrm>
              <a:off x="5588419" y="2287479"/>
              <a:ext cx="403189" cy="366289"/>
            </a:xfrm>
            <a:custGeom>
              <a:avLst/>
              <a:gdLst/>
              <a:ahLst/>
              <a:cxnLst/>
              <a:rect l="l" t="t" r="r" b="b"/>
              <a:pathLst>
                <a:path w="11790" h="10711" extrusionOk="0">
                  <a:moveTo>
                    <a:pt x="5314" y="0"/>
                  </a:moveTo>
                  <a:cubicBezTo>
                    <a:pt x="3611" y="0"/>
                    <a:pt x="1962" y="832"/>
                    <a:pt x="953" y="2327"/>
                  </a:cubicBezTo>
                  <a:lnTo>
                    <a:pt x="501" y="1970"/>
                  </a:lnTo>
                  <a:cubicBezTo>
                    <a:pt x="443" y="1931"/>
                    <a:pt x="379" y="1914"/>
                    <a:pt x="318" y="1914"/>
                  </a:cubicBezTo>
                  <a:cubicBezTo>
                    <a:pt x="153" y="1914"/>
                    <a:pt x="1" y="2041"/>
                    <a:pt x="1" y="2232"/>
                  </a:cubicBezTo>
                  <a:lnTo>
                    <a:pt x="1" y="5352"/>
                  </a:lnTo>
                  <a:cubicBezTo>
                    <a:pt x="1" y="5539"/>
                    <a:pt x="148" y="5667"/>
                    <a:pt x="315" y="5667"/>
                  </a:cubicBezTo>
                  <a:cubicBezTo>
                    <a:pt x="361" y="5667"/>
                    <a:pt x="408" y="5658"/>
                    <a:pt x="453" y="5638"/>
                  </a:cubicBezTo>
                  <a:lnTo>
                    <a:pt x="2954" y="4375"/>
                  </a:lnTo>
                  <a:cubicBezTo>
                    <a:pt x="3168" y="4280"/>
                    <a:pt x="3192" y="3994"/>
                    <a:pt x="3002" y="3852"/>
                  </a:cubicBezTo>
                  <a:lnTo>
                    <a:pt x="2478" y="3447"/>
                  </a:lnTo>
                  <a:cubicBezTo>
                    <a:pt x="3101" y="2452"/>
                    <a:pt x="4191" y="1887"/>
                    <a:pt x="5315" y="1887"/>
                  </a:cubicBezTo>
                  <a:cubicBezTo>
                    <a:pt x="5778" y="1887"/>
                    <a:pt x="6248" y="1983"/>
                    <a:pt x="6693" y="2185"/>
                  </a:cubicBezTo>
                  <a:cubicBezTo>
                    <a:pt x="9503" y="3375"/>
                    <a:pt x="9503" y="7352"/>
                    <a:pt x="6693" y="8519"/>
                  </a:cubicBezTo>
                  <a:cubicBezTo>
                    <a:pt x="6251" y="8704"/>
                    <a:pt x="5793" y="8792"/>
                    <a:pt x="5343" y="8792"/>
                  </a:cubicBezTo>
                  <a:cubicBezTo>
                    <a:pt x="3995" y="8792"/>
                    <a:pt x="2715" y="8006"/>
                    <a:pt x="2144" y="6685"/>
                  </a:cubicBezTo>
                  <a:cubicBezTo>
                    <a:pt x="1984" y="6263"/>
                    <a:pt x="1652" y="6086"/>
                    <a:pt x="1316" y="6086"/>
                  </a:cubicBezTo>
                  <a:cubicBezTo>
                    <a:pt x="704" y="6086"/>
                    <a:pt x="76" y="6671"/>
                    <a:pt x="430" y="7424"/>
                  </a:cubicBezTo>
                  <a:cubicBezTo>
                    <a:pt x="1309" y="9543"/>
                    <a:pt x="3323" y="10711"/>
                    <a:pt x="5367" y="10711"/>
                  </a:cubicBezTo>
                  <a:cubicBezTo>
                    <a:pt x="6700" y="10711"/>
                    <a:pt x="8045" y="10215"/>
                    <a:pt x="9098" y="9162"/>
                  </a:cubicBezTo>
                  <a:cubicBezTo>
                    <a:pt x="11789" y="6471"/>
                    <a:pt x="10932" y="1946"/>
                    <a:pt x="7431" y="446"/>
                  </a:cubicBezTo>
                  <a:cubicBezTo>
                    <a:pt x="6744" y="145"/>
                    <a:pt x="6024" y="0"/>
                    <a:pt x="5314" y="0"/>
                  </a:cubicBezTo>
                  <a:close/>
                </a:path>
              </a:pathLst>
            </a:custGeom>
            <a:grpFill/>
            <a:ln>
              <a:noFill/>
            </a:ln>
          </p:spPr>
          <p:txBody>
            <a:bodyPr spcFirstLastPara="1" wrap="square" lIns="121900" tIns="121900" rIns="121900" bIns="121900" anchor="ctr" anchorCtr="0">
              <a:noAutofit/>
            </a:bodyPr>
            <a:lstStyle/>
            <a:p>
              <a:endParaRPr lang="vi-VN" sz="2400"/>
            </a:p>
          </p:txBody>
        </p:sp>
      </p:grpSp>
      <p:grpSp>
        <p:nvGrpSpPr>
          <p:cNvPr id="1100" name="Google Shape;1100;p35"/>
          <p:cNvGrpSpPr/>
          <p:nvPr/>
        </p:nvGrpSpPr>
        <p:grpSpPr>
          <a:xfrm>
            <a:off x="6850444" y="2357516"/>
            <a:ext cx="5304589" cy="784884"/>
            <a:chOff x="4052625" y="2069187"/>
            <a:chExt cx="1207915" cy="588663"/>
          </a:xfrm>
        </p:grpSpPr>
        <p:sp>
          <p:nvSpPr>
            <p:cNvPr id="1101" name="Google Shape;1101;p35"/>
            <p:cNvSpPr txBox="1"/>
            <p:nvPr/>
          </p:nvSpPr>
          <p:spPr>
            <a:xfrm>
              <a:off x="4052625" y="2069187"/>
              <a:ext cx="885900" cy="233100"/>
            </a:xfrm>
            <a:prstGeom prst="rect">
              <a:avLst/>
            </a:prstGeom>
            <a:noFill/>
            <a:ln>
              <a:noFill/>
            </a:ln>
          </p:spPr>
          <p:txBody>
            <a:bodyPr spcFirstLastPara="1" wrap="square" lIns="121900" tIns="121900" rIns="121900" bIns="121900" anchor="ctr" anchorCtr="0">
              <a:noAutofit/>
            </a:bodyPr>
            <a:lstStyle/>
            <a:p>
              <a:r>
                <a:rPr lang="vi-VN" sz="1600">
                  <a:latin typeface="Roboto"/>
                  <a:ea typeface="Roboto"/>
                  <a:cs typeface="Roboto"/>
                  <a:sym typeface="Roboto"/>
                </a:rPr>
                <a:t>Đối tác</a:t>
              </a:r>
              <a:endParaRPr lang="vi-VN" sz="1600">
                <a:solidFill>
                  <a:srgbClr val="000000"/>
                </a:solidFill>
                <a:latin typeface="Roboto"/>
                <a:ea typeface="Roboto"/>
                <a:cs typeface="Roboto"/>
                <a:sym typeface="Roboto"/>
              </a:endParaRPr>
            </a:p>
          </p:txBody>
        </p:sp>
        <p:sp>
          <p:nvSpPr>
            <p:cNvPr id="1102" name="Google Shape;1102;p35"/>
            <p:cNvSpPr txBox="1"/>
            <p:nvPr/>
          </p:nvSpPr>
          <p:spPr>
            <a:xfrm>
              <a:off x="4052679" y="2424750"/>
              <a:ext cx="1207861" cy="233100"/>
            </a:xfrm>
            <a:prstGeom prst="rect">
              <a:avLst/>
            </a:prstGeom>
            <a:noFill/>
            <a:ln>
              <a:noFill/>
            </a:ln>
          </p:spPr>
          <p:txBody>
            <a:bodyPr spcFirstLastPara="1" wrap="square" lIns="121900" tIns="121900" rIns="121900" bIns="121900" anchor="ctr" anchorCtr="0">
              <a:noAutofit/>
            </a:bodyPr>
            <a:lstStyle/>
            <a:p>
              <a:r>
                <a:rPr lang="vi-VN" sz="2000" b="1" dirty="0">
                  <a:solidFill>
                    <a:srgbClr val="000000"/>
                  </a:solidFill>
                  <a:latin typeface="Fira Sans Extra Condensed"/>
                  <a:ea typeface="Fira Sans Extra Condensed"/>
                  <a:cs typeface="Fira Sans Extra Condensed"/>
                  <a:sym typeface="Fira Sans Extra Condensed"/>
                </a:rPr>
                <a:t>BYT, Sở YT, Viện CLCSYT, CTCLQG, </a:t>
              </a:r>
            </a:p>
            <a:p>
              <a:r>
                <a:rPr lang="vi-VN" sz="2000" b="1" dirty="0">
                  <a:solidFill>
                    <a:srgbClr val="000000"/>
                  </a:solidFill>
                  <a:latin typeface="Fira Sans Extra Condensed"/>
                  <a:ea typeface="Fira Sans Extra Condensed"/>
                  <a:cs typeface="Fira Sans Extra Condensed"/>
                  <a:sym typeface="Fira Sans Extra Condensed"/>
                </a:rPr>
                <a:t>Viện Pasteur, CDC &amp; CSYT </a:t>
              </a:r>
            </a:p>
          </p:txBody>
        </p:sp>
      </p:grpSp>
      <p:grpSp>
        <p:nvGrpSpPr>
          <p:cNvPr id="1117" name="Google Shape;1117;p35"/>
          <p:cNvGrpSpPr/>
          <p:nvPr/>
        </p:nvGrpSpPr>
        <p:grpSpPr>
          <a:xfrm>
            <a:off x="6367008" y="2573003"/>
            <a:ext cx="448357" cy="517194"/>
            <a:chOff x="1664287" y="2288939"/>
            <a:chExt cx="280139" cy="365620"/>
          </a:xfrm>
        </p:grpSpPr>
        <p:sp>
          <p:nvSpPr>
            <p:cNvPr id="1118" name="Google Shape;1118;p35"/>
            <p:cNvSpPr/>
            <p:nvPr/>
          </p:nvSpPr>
          <p:spPr>
            <a:xfrm>
              <a:off x="1748161" y="2505514"/>
              <a:ext cx="49716" cy="72864"/>
            </a:xfrm>
            <a:custGeom>
              <a:avLst/>
              <a:gdLst/>
              <a:ahLst/>
              <a:cxnLst/>
              <a:rect l="l" t="t" r="r" b="b"/>
              <a:pathLst>
                <a:path w="1454" h="2131" extrusionOk="0">
                  <a:moveTo>
                    <a:pt x="620" y="1"/>
                  </a:moveTo>
                  <a:lnTo>
                    <a:pt x="120" y="477"/>
                  </a:lnTo>
                  <a:cubicBezTo>
                    <a:pt x="48" y="572"/>
                    <a:pt x="0" y="715"/>
                    <a:pt x="48" y="811"/>
                  </a:cubicBezTo>
                  <a:lnTo>
                    <a:pt x="477" y="1930"/>
                  </a:lnTo>
                  <a:cubicBezTo>
                    <a:pt x="524" y="2057"/>
                    <a:pt x="646" y="2131"/>
                    <a:pt x="771" y="2131"/>
                  </a:cubicBezTo>
                  <a:cubicBezTo>
                    <a:pt x="834" y="2131"/>
                    <a:pt x="897" y="2112"/>
                    <a:pt x="953" y="2073"/>
                  </a:cubicBezTo>
                  <a:lnTo>
                    <a:pt x="1453" y="1668"/>
                  </a:lnTo>
                  <a:lnTo>
                    <a:pt x="620" y="1"/>
                  </a:lnTo>
                  <a:close/>
                </a:path>
              </a:pathLst>
            </a:custGeom>
            <a:solidFill>
              <a:schemeClr val="accent2"/>
            </a:solidFill>
            <a:ln>
              <a:noFill/>
            </a:ln>
          </p:spPr>
          <p:txBody>
            <a:bodyPr spcFirstLastPara="1" wrap="square" lIns="121900" tIns="121900" rIns="121900" bIns="121900" anchor="ctr" anchorCtr="0">
              <a:noAutofit/>
            </a:bodyPr>
            <a:lstStyle/>
            <a:p>
              <a:endParaRPr lang="vi-VN" sz="2800"/>
            </a:p>
          </p:txBody>
        </p:sp>
        <p:sp>
          <p:nvSpPr>
            <p:cNvPr id="1119" name="Google Shape;1119;p35"/>
            <p:cNvSpPr/>
            <p:nvPr/>
          </p:nvSpPr>
          <p:spPr>
            <a:xfrm>
              <a:off x="1796201" y="2512866"/>
              <a:ext cx="17130" cy="17130"/>
            </a:xfrm>
            <a:custGeom>
              <a:avLst/>
              <a:gdLst/>
              <a:ahLst/>
              <a:cxnLst/>
              <a:rect l="l" t="t" r="r" b="b"/>
              <a:pathLst>
                <a:path w="501" h="501" extrusionOk="0">
                  <a:moveTo>
                    <a:pt x="1" y="0"/>
                  </a:moveTo>
                  <a:lnTo>
                    <a:pt x="262" y="500"/>
                  </a:lnTo>
                  <a:lnTo>
                    <a:pt x="501" y="0"/>
                  </a:lnTo>
                  <a:close/>
                </a:path>
              </a:pathLst>
            </a:custGeom>
            <a:solidFill>
              <a:schemeClr val="accent2"/>
            </a:solidFill>
            <a:ln>
              <a:noFill/>
            </a:ln>
          </p:spPr>
          <p:txBody>
            <a:bodyPr spcFirstLastPara="1" wrap="square" lIns="121900" tIns="121900" rIns="121900" bIns="121900" anchor="ctr" anchorCtr="0">
              <a:noAutofit/>
            </a:bodyPr>
            <a:lstStyle/>
            <a:p>
              <a:endParaRPr lang="vi-VN" sz="2800"/>
            </a:p>
          </p:txBody>
        </p:sp>
        <p:sp>
          <p:nvSpPr>
            <p:cNvPr id="1120" name="Google Shape;1120;p35"/>
            <p:cNvSpPr/>
            <p:nvPr/>
          </p:nvSpPr>
          <p:spPr>
            <a:xfrm>
              <a:off x="1811690" y="2505514"/>
              <a:ext cx="49682" cy="73445"/>
            </a:xfrm>
            <a:custGeom>
              <a:avLst/>
              <a:gdLst/>
              <a:ahLst/>
              <a:cxnLst/>
              <a:rect l="l" t="t" r="r" b="b"/>
              <a:pathLst>
                <a:path w="1453" h="2148" extrusionOk="0">
                  <a:moveTo>
                    <a:pt x="857" y="1"/>
                  </a:moveTo>
                  <a:lnTo>
                    <a:pt x="0" y="1668"/>
                  </a:lnTo>
                  <a:lnTo>
                    <a:pt x="500" y="2073"/>
                  </a:lnTo>
                  <a:cubicBezTo>
                    <a:pt x="559" y="2123"/>
                    <a:pt x="630" y="2147"/>
                    <a:pt x="699" y="2147"/>
                  </a:cubicBezTo>
                  <a:cubicBezTo>
                    <a:pt x="826" y="2147"/>
                    <a:pt x="946" y="2068"/>
                    <a:pt x="976" y="1930"/>
                  </a:cubicBezTo>
                  <a:lnTo>
                    <a:pt x="1405" y="811"/>
                  </a:lnTo>
                  <a:cubicBezTo>
                    <a:pt x="1453" y="691"/>
                    <a:pt x="1429" y="572"/>
                    <a:pt x="1334" y="477"/>
                  </a:cubicBezTo>
                  <a:lnTo>
                    <a:pt x="857" y="1"/>
                  </a:lnTo>
                  <a:close/>
                </a:path>
              </a:pathLst>
            </a:custGeom>
            <a:solidFill>
              <a:schemeClr val="accent2"/>
            </a:solidFill>
            <a:ln>
              <a:noFill/>
            </a:ln>
          </p:spPr>
          <p:txBody>
            <a:bodyPr spcFirstLastPara="1" wrap="square" lIns="121900" tIns="121900" rIns="121900" bIns="121900" anchor="ctr" anchorCtr="0">
              <a:noAutofit/>
            </a:bodyPr>
            <a:lstStyle/>
            <a:p>
              <a:endParaRPr lang="vi-VN" sz="2800"/>
            </a:p>
          </p:txBody>
        </p:sp>
        <p:sp>
          <p:nvSpPr>
            <p:cNvPr id="1121" name="Google Shape;1121;p35"/>
            <p:cNvSpPr/>
            <p:nvPr/>
          </p:nvSpPr>
          <p:spPr>
            <a:xfrm>
              <a:off x="1740844" y="2288939"/>
              <a:ext cx="157183" cy="177015"/>
            </a:xfrm>
            <a:custGeom>
              <a:avLst/>
              <a:gdLst/>
              <a:ahLst/>
              <a:cxnLst/>
              <a:rect l="l" t="t" r="r" b="b"/>
              <a:pathLst>
                <a:path w="4597" h="5177" extrusionOk="0">
                  <a:moveTo>
                    <a:pt x="2286" y="0"/>
                  </a:moveTo>
                  <a:cubicBezTo>
                    <a:pt x="1048" y="0"/>
                    <a:pt x="24" y="1000"/>
                    <a:pt x="0" y="2239"/>
                  </a:cubicBezTo>
                  <a:lnTo>
                    <a:pt x="0" y="2453"/>
                  </a:lnTo>
                  <a:lnTo>
                    <a:pt x="429" y="2453"/>
                  </a:lnTo>
                  <a:cubicBezTo>
                    <a:pt x="834" y="2453"/>
                    <a:pt x="1238" y="2239"/>
                    <a:pt x="1500" y="1905"/>
                  </a:cubicBezTo>
                  <a:lnTo>
                    <a:pt x="1500" y="1929"/>
                  </a:lnTo>
                  <a:lnTo>
                    <a:pt x="1620" y="1763"/>
                  </a:lnTo>
                  <a:cubicBezTo>
                    <a:pt x="1667" y="1691"/>
                    <a:pt x="1715" y="1643"/>
                    <a:pt x="1810" y="1643"/>
                  </a:cubicBezTo>
                  <a:cubicBezTo>
                    <a:pt x="1841" y="1631"/>
                    <a:pt x="1872" y="1625"/>
                    <a:pt x="1902" y="1625"/>
                  </a:cubicBezTo>
                  <a:cubicBezTo>
                    <a:pt x="1987" y="1625"/>
                    <a:pt x="2067" y="1674"/>
                    <a:pt x="2120" y="1763"/>
                  </a:cubicBezTo>
                  <a:lnTo>
                    <a:pt x="2239" y="1929"/>
                  </a:lnTo>
                  <a:cubicBezTo>
                    <a:pt x="2453" y="2191"/>
                    <a:pt x="2739" y="2382"/>
                    <a:pt x="3072" y="2429"/>
                  </a:cubicBezTo>
                  <a:cubicBezTo>
                    <a:pt x="3215" y="2477"/>
                    <a:pt x="3334" y="2596"/>
                    <a:pt x="3334" y="2739"/>
                  </a:cubicBezTo>
                  <a:lnTo>
                    <a:pt x="3334" y="3620"/>
                  </a:lnTo>
                  <a:cubicBezTo>
                    <a:pt x="3334" y="4215"/>
                    <a:pt x="3620" y="4763"/>
                    <a:pt x="4096" y="5120"/>
                  </a:cubicBezTo>
                  <a:cubicBezTo>
                    <a:pt x="4154" y="5159"/>
                    <a:pt x="4218" y="5177"/>
                    <a:pt x="4279" y="5177"/>
                  </a:cubicBezTo>
                  <a:cubicBezTo>
                    <a:pt x="4445" y="5177"/>
                    <a:pt x="4596" y="5049"/>
                    <a:pt x="4596" y="4858"/>
                  </a:cubicBezTo>
                  <a:lnTo>
                    <a:pt x="4596" y="2239"/>
                  </a:lnTo>
                  <a:cubicBezTo>
                    <a:pt x="4549" y="1000"/>
                    <a:pt x="3525" y="0"/>
                    <a:pt x="2286" y="0"/>
                  </a:cubicBezTo>
                  <a:close/>
                </a:path>
              </a:pathLst>
            </a:custGeom>
            <a:solidFill>
              <a:schemeClr val="accent2"/>
            </a:solidFill>
            <a:ln>
              <a:noFill/>
            </a:ln>
          </p:spPr>
          <p:txBody>
            <a:bodyPr spcFirstLastPara="1" wrap="square" lIns="121900" tIns="121900" rIns="121900" bIns="121900" anchor="ctr" anchorCtr="0">
              <a:noAutofit/>
            </a:bodyPr>
            <a:lstStyle/>
            <a:p>
              <a:endParaRPr lang="vi-VN" sz="2800"/>
            </a:p>
          </p:txBody>
        </p:sp>
        <p:sp>
          <p:nvSpPr>
            <p:cNvPr id="1122" name="Google Shape;1122;p35"/>
            <p:cNvSpPr/>
            <p:nvPr/>
          </p:nvSpPr>
          <p:spPr>
            <a:xfrm>
              <a:off x="1687093" y="2342655"/>
              <a:ext cx="41544" cy="140189"/>
            </a:xfrm>
            <a:custGeom>
              <a:avLst/>
              <a:gdLst/>
              <a:ahLst/>
              <a:cxnLst/>
              <a:rect l="l" t="t" r="r" b="b"/>
              <a:pathLst>
                <a:path w="1215" h="4100" extrusionOk="0">
                  <a:moveTo>
                    <a:pt x="929" y="1"/>
                  </a:moveTo>
                  <a:cubicBezTo>
                    <a:pt x="358" y="334"/>
                    <a:pt x="0" y="954"/>
                    <a:pt x="0" y="1620"/>
                  </a:cubicBezTo>
                  <a:lnTo>
                    <a:pt x="0" y="3787"/>
                  </a:lnTo>
                  <a:cubicBezTo>
                    <a:pt x="0" y="3964"/>
                    <a:pt x="164" y="4100"/>
                    <a:pt x="340" y="4100"/>
                  </a:cubicBezTo>
                  <a:cubicBezTo>
                    <a:pt x="353" y="4100"/>
                    <a:pt x="367" y="4099"/>
                    <a:pt x="381" y="4097"/>
                  </a:cubicBezTo>
                  <a:cubicBezTo>
                    <a:pt x="691" y="4026"/>
                    <a:pt x="977" y="3859"/>
                    <a:pt x="1215" y="3621"/>
                  </a:cubicBezTo>
                  <a:cubicBezTo>
                    <a:pt x="1024" y="3264"/>
                    <a:pt x="929" y="2859"/>
                    <a:pt x="929" y="2454"/>
                  </a:cubicBezTo>
                  <a:lnTo>
                    <a:pt x="929" y="1"/>
                  </a:lnTo>
                  <a:close/>
                </a:path>
              </a:pathLst>
            </a:custGeom>
            <a:solidFill>
              <a:schemeClr val="accent2"/>
            </a:solidFill>
            <a:ln>
              <a:noFill/>
            </a:ln>
          </p:spPr>
          <p:txBody>
            <a:bodyPr spcFirstLastPara="1" wrap="square" lIns="121900" tIns="121900" rIns="121900" bIns="121900" anchor="ctr" anchorCtr="0">
              <a:noAutofit/>
            </a:bodyPr>
            <a:lstStyle/>
            <a:p>
              <a:endParaRPr lang="vi-VN" sz="2800"/>
            </a:p>
          </p:txBody>
        </p:sp>
        <p:sp>
          <p:nvSpPr>
            <p:cNvPr id="1123" name="Google Shape;1123;p35"/>
            <p:cNvSpPr/>
            <p:nvPr/>
          </p:nvSpPr>
          <p:spPr>
            <a:xfrm>
              <a:off x="1740023" y="2372813"/>
              <a:ext cx="114032" cy="118922"/>
            </a:xfrm>
            <a:custGeom>
              <a:avLst/>
              <a:gdLst/>
              <a:ahLst/>
              <a:cxnLst/>
              <a:rect l="l" t="t" r="r" b="b"/>
              <a:pathLst>
                <a:path w="3335" h="3478" extrusionOk="0">
                  <a:moveTo>
                    <a:pt x="1905" y="0"/>
                  </a:moveTo>
                  <a:cubicBezTo>
                    <a:pt x="1524" y="405"/>
                    <a:pt x="1001" y="643"/>
                    <a:pt x="429" y="643"/>
                  </a:cubicBezTo>
                  <a:lnTo>
                    <a:pt x="24" y="643"/>
                  </a:lnTo>
                  <a:lnTo>
                    <a:pt x="24" y="1572"/>
                  </a:lnTo>
                  <a:cubicBezTo>
                    <a:pt x="0" y="2620"/>
                    <a:pt x="858" y="3477"/>
                    <a:pt x="1905" y="3477"/>
                  </a:cubicBezTo>
                  <a:lnTo>
                    <a:pt x="1905" y="3453"/>
                  </a:lnTo>
                  <a:cubicBezTo>
                    <a:pt x="2453" y="3453"/>
                    <a:pt x="2977" y="3215"/>
                    <a:pt x="3334" y="2786"/>
                  </a:cubicBezTo>
                  <a:cubicBezTo>
                    <a:pt x="2953" y="2334"/>
                    <a:pt x="2739" y="1786"/>
                    <a:pt x="2739" y="1191"/>
                  </a:cubicBezTo>
                  <a:lnTo>
                    <a:pt x="2739" y="548"/>
                  </a:lnTo>
                  <a:cubicBezTo>
                    <a:pt x="2406" y="429"/>
                    <a:pt x="2120" y="238"/>
                    <a:pt x="1905" y="0"/>
                  </a:cubicBezTo>
                  <a:close/>
                </a:path>
              </a:pathLst>
            </a:custGeom>
            <a:solidFill>
              <a:schemeClr val="accent2"/>
            </a:solidFill>
            <a:ln>
              <a:noFill/>
            </a:ln>
          </p:spPr>
          <p:txBody>
            <a:bodyPr spcFirstLastPara="1" wrap="square" lIns="121900" tIns="121900" rIns="121900" bIns="121900" anchor="ctr" anchorCtr="0">
              <a:noAutofit/>
            </a:bodyPr>
            <a:lstStyle/>
            <a:p>
              <a:endParaRPr lang="vi-VN" sz="2800"/>
            </a:p>
          </p:txBody>
        </p:sp>
        <p:sp>
          <p:nvSpPr>
            <p:cNvPr id="1124" name="Google Shape;1124;p35"/>
            <p:cNvSpPr/>
            <p:nvPr/>
          </p:nvSpPr>
          <p:spPr>
            <a:xfrm>
              <a:off x="1815759" y="2523431"/>
              <a:ext cx="128666" cy="130342"/>
            </a:xfrm>
            <a:custGeom>
              <a:avLst/>
              <a:gdLst/>
              <a:ahLst/>
              <a:cxnLst/>
              <a:rect l="l" t="t" r="r" b="b"/>
              <a:pathLst>
                <a:path w="3763" h="3812" extrusionOk="0">
                  <a:moveTo>
                    <a:pt x="1905" y="1"/>
                  </a:moveTo>
                  <a:cubicBezTo>
                    <a:pt x="1953" y="167"/>
                    <a:pt x="1929" y="358"/>
                    <a:pt x="1881" y="525"/>
                  </a:cubicBezTo>
                  <a:lnTo>
                    <a:pt x="1453" y="1620"/>
                  </a:lnTo>
                  <a:cubicBezTo>
                    <a:pt x="1311" y="2013"/>
                    <a:pt x="943" y="2239"/>
                    <a:pt x="564" y="2239"/>
                  </a:cubicBezTo>
                  <a:cubicBezTo>
                    <a:pt x="369" y="2239"/>
                    <a:pt x="171" y="2179"/>
                    <a:pt x="0" y="2049"/>
                  </a:cubicBezTo>
                  <a:lnTo>
                    <a:pt x="0" y="3811"/>
                  </a:lnTo>
                  <a:lnTo>
                    <a:pt x="3453" y="3811"/>
                  </a:lnTo>
                  <a:cubicBezTo>
                    <a:pt x="3620" y="3811"/>
                    <a:pt x="3763" y="3668"/>
                    <a:pt x="3739" y="3501"/>
                  </a:cubicBezTo>
                  <a:lnTo>
                    <a:pt x="3739" y="1787"/>
                  </a:lnTo>
                  <a:cubicBezTo>
                    <a:pt x="3739" y="787"/>
                    <a:pt x="2953" y="1"/>
                    <a:pt x="1953" y="1"/>
                  </a:cubicBezTo>
                  <a:close/>
                </a:path>
              </a:pathLst>
            </a:custGeom>
            <a:solidFill>
              <a:schemeClr val="accent2"/>
            </a:solidFill>
            <a:ln>
              <a:noFill/>
            </a:ln>
          </p:spPr>
          <p:txBody>
            <a:bodyPr spcFirstLastPara="1" wrap="square" lIns="121900" tIns="121900" rIns="121900" bIns="121900" anchor="ctr" anchorCtr="0">
              <a:noAutofit/>
            </a:bodyPr>
            <a:lstStyle/>
            <a:p>
              <a:endParaRPr lang="vi-VN" sz="2800"/>
            </a:p>
          </p:txBody>
        </p:sp>
        <p:sp>
          <p:nvSpPr>
            <p:cNvPr id="1125" name="Google Shape;1125;p35"/>
            <p:cNvSpPr/>
            <p:nvPr/>
          </p:nvSpPr>
          <p:spPr>
            <a:xfrm>
              <a:off x="1664287" y="2523431"/>
              <a:ext cx="128701" cy="131128"/>
            </a:xfrm>
            <a:custGeom>
              <a:avLst/>
              <a:gdLst/>
              <a:ahLst/>
              <a:cxnLst/>
              <a:rect l="l" t="t" r="r" b="b"/>
              <a:pathLst>
                <a:path w="3764" h="3835" extrusionOk="0">
                  <a:moveTo>
                    <a:pt x="1787" y="1"/>
                  </a:moveTo>
                  <a:cubicBezTo>
                    <a:pt x="810" y="1"/>
                    <a:pt x="1" y="810"/>
                    <a:pt x="1" y="1787"/>
                  </a:cubicBezTo>
                  <a:lnTo>
                    <a:pt x="1" y="3525"/>
                  </a:lnTo>
                  <a:cubicBezTo>
                    <a:pt x="1" y="3692"/>
                    <a:pt x="143" y="3835"/>
                    <a:pt x="310" y="3835"/>
                  </a:cubicBezTo>
                  <a:lnTo>
                    <a:pt x="3763" y="3835"/>
                  </a:lnTo>
                  <a:lnTo>
                    <a:pt x="3763" y="2049"/>
                  </a:lnTo>
                  <a:cubicBezTo>
                    <a:pt x="3597" y="2192"/>
                    <a:pt x="3382" y="2263"/>
                    <a:pt x="3192" y="2263"/>
                  </a:cubicBezTo>
                  <a:lnTo>
                    <a:pt x="3216" y="2239"/>
                  </a:lnTo>
                  <a:cubicBezTo>
                    <a:pt x="2835" y="2239"/>
                    <a:pt x="2477" y="2001"/>
                    <a:pt x="2334" y="1620"/>
                  </a:cubicBezTo>
                  <a:lnTo>
                    <a:pt x="1906" y="525"/>
                  </a:lnTo>
                  <a:cubicBezTo>
                    <a:pt x="1858" y="358"/>
                    <a:pt x="1834" y="167"/>
                    <a:pt x="1858" y="1"/>
                  </a:cubicBezTo>
                  <a:close/>
                </a:path>
              </a:pathLst>
            </a:custGeom>
            <a:solidFill>
              <a:schemeClr val="accent2"/>
            </a:solidFill>
            <a:ln>
              <a:noFill/>
            </a:ln>
          </p:spPr>
          <p:txBody>
            <a:bodyPr spcFirstLastPara="1" wrap="square" lIns="121900" tIns="121900" rIns="121900" bIns="121900" anchor="ctr" anchorCtr="0">
              <a:noAutofit/>
            </a:bodyPr>
            <a:lstStyle/>
            <a:p>
              <a:endParaRPr lang="vi-VN" sz="2800"/>
            </a:p>
          </p:txBody>
        </p:sp>
      </p:grpSp>
      <p:graphicFrame>
        <p:nvGraphicFramePr>
          <p:cNvPr id="1095" name="Google Shape;1095;p35"/>
          <p:cNvGraphicFramePr/>
          <p:nvPr>
            <p:extLst>
              <p:ext uri="{D42A27DB-BD31-4B8C-83A1-F6EECF244321}">
                <p14:modId xmlns:p14="http://schemas.microsoft.com/office/powerpoint/2010/main" val="1854559949"/>
              </p:ext>
            </p:extLst>
          </p:nvPr>
        </p:nvGraphicFramePr>
        <p:xfrm>
          <a:off x="6239515" y="4263269"/>
          <a:ext cx="5486400" cy="623841"/>
        </p:xfrm>
        <a:graphic>
          <a:graphicData uri="http://schemas.openxmlformats.org/drawingml/2006/table">
            <a:tbl>
              <a:tblPr>
                <a:noFill/>
              </a:tblPr>
              <a:tblGrid>
                <a:gridCol w="1828800">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tblGrid>
              <a:tr h="623841">
                <a:tc>
                  <a:txBody>
                    <a:bodyPr/>
                    <a:lstStyle/>
                    <a:p>
                      <a:pPr marL="0" lvl="0" indent="0" algn="ctr" rtl="0">
                        <a:spcBef>
                          <a:spcPts val="0"/>
                        </a:spcBef>
                        <a:spcAft>
                          <a:spcPts val="0"/>
                        </a:spcAft>
                        <a:buNone/>
                      </a:pPr>
                      <a:r>
                        <a:rPr lang="en" sz="2000" b="1" dirty="0">
                          <a:solidFill>
                            <a:schemeClr val="lt1"/>
                          </a:solidFill>
                          <a:latin typeface="Fira Sans Extra Condensed"/>
                          <a:ea typeface="Fira Sans Extra Condensed"/>
                          <a:cs typeface="Fira Sans Extra Condensed"/>
                          <a:sym typeface="Fira Sans Extra Condensed"/>
                        </a:rPr>
                        <a:t>7 </a:t>
                      </a:r>
                      <a:r>
                        <a:rPr lang="en" sz="2000" b="1" dirty="0" err="1">
                          <a:solidFill>
                            <a:schemeClr val="lt1"/>
                          </a:solidFill>
                          <a:latin typeface="Fira Sans Extra Condensed"/>
                          <a:ea typeface="Fira Sans Extra Condensed"/>
                          <a:cs typeface="Fira Sans Extra Condensed"/>
                          <a:sym typeface="Fira Sans Extra Condensed"/>
                        </a:rPr>
                        <a:t>Dư</a:t>
                      </a:r>
                      <a:r>
                        <a:rPr lang="en" sz="2000" b="1" dirty="0">
                          <a:solidFill>
                            <a:schemeClr val="lt1"/>
                          </a:solidFill>
                          <a:latin typeface="Fira Sans Extra Condensed"/>
                          <a:ea typeface="Fira Sans Extra Condensed"/>
                          <a:cs typeface="Fira Sans Extra Condensed"/>
                          <a:sym typeface="Fira Sans Extra Condensed"/>
                        </a:rPr>
                        <a:t> </a:t>
                      </a:r>
                      <a:r>
                        <a:rPr lang="en" sz="2000" b="1" dirty="0" err="1">
                          <a:solidFill>
                            <a:schemeClr val="lt1"/>
                          </a:solidFill>
                          <a:latin typeface="Fira Sans Extra Condensed"/>
                          <a:ea typeface="Fira Sans Extra Condensed"/>
                          <a:cs typeface="Fira Sans Extra Condensed"/>
                          <a:sym typeface="Fira Sans Extra Condensed"/>
                        </a:rPr>
                        <a:t>án</a:t>
                      </a:r>
                      <a:endParaRPr sz="2000" b="1" dirty="0">
                        <a:solidFill>
                          <a:schemeClr val="lt1"/>
                        </a:solidFill>
                        <a:latin typeface="Fira Sans Extra Condensed"/>
                        <a:ea typeface="Fira Sans Extra Condensed"/>
                        <a:cs typeface="Fira Sans Extra Condensed"/>
                        <a:sym typeface="Fira Sans Extra Condensed"/>
                      </a:endParaRPr>
                    </a:p>
                  </a:txBody>
                  <a:tcPr marL="121900" marR="121900" marT="121900" marB="1219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accent2"/>
                    </a:solidFill>
                  </a:tcPr>
                </a:tc>
                <a:tc gridSpan="2">
                  <a:txBody>
                    <a:bodyPr/>
                    <a:lstStyle/>
                    <a:p>
                      <a:pPr marL="0" lvl="0" indent="0" algn="ctr" rtl="0">
                        <a:spcBef>
                          <a:spcPts val="0"/>
                        </a:spcBef>
                        <a:spcAft>
                          <a:spcPts val="0"/>
                        </a:spcAft>
                        <a:buNone/>
                      </a:pPr>
                      <a:r>
                        <a:rPr lang="en" sz="2400" b="1" dirty="0">
                          <a:solidFill>
                            <a:schemeClr val="accent2"/>
                          </a:solidFill>
                          <a:latin typeface="Fira Sans Extra Condensed"/>
                          <a:ea typeface="Fira Sans Extra Condensed"/>
                          <a:cs typeface="Fira Sans Extra Condensed"/>
                          <a:sym typeface="Fira Sans Extra Condensed"/>
                        </a:rPr>
                        <a:t>CTCLQG</a:t>
                      </a:r>
                      <a:endParaRPr sz="2400" b="1" dirty="0">
                        <a:solidFill>
                          <a:schemeClr val="accent2"/>
                        </a:solidFill>
                        <a:latin typeface="Fira Sans Extra Condensed"/>
                        <a:ea typeface="Fira Sans Extra Condensed"/>
                        <a:cs typeface="Fira Sans Extra Condensed"/>
                        <a:sym typeface="Fira Sans Extra Condensed"/>
                      </a:endParaRPr>
                    </a:p>
                  </a:txBody>
                  <a:tcPr marL="121900" marR="121900" marT="121900" marB="1219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rgbClr val="3C8A97">
                        <a:alpha val="12549"/>
                      </a:srgbClr>
                    </a:solidFill>
                  </a:tcPr>
                </a:tc>
                <a:tc hMerge="1">
                  <a:txBody>
                    <a:bodyPr/>
                    <a:lstStyle/>
                    <a:p>
                      <a:endParaRPr lang="en-CH"/>
                    </a:p>
                  </a:txBody>
                  <a:tcPr/>
                </a:tc>
                <a:extLst>
                  <a:ext uri="{0D108BD9-81ED-4DB2-BD59-A6C34878D82A}">
                    <a16:rowId xmlns:a16="http://schemas.microsoft.com/office/drawing/2014/main" val="10000"/>
                  </a:ext>
                </a:extLst>
              </a:tr>
            </a:tbl>
          </a:graphicData>
        </a:graphic>
      </p:graphicFrame>
      <p:graphicFrame>
        <p:nvGraphicFramePr>
          <p:cNvPr id="2" name="Google Shape;1095;p35">
            <a:extLst>
              <a:ext uri="{FF2B5EF4-FFF2-40B4-BE49-F238E27FC236}">
                <a16:creationId xmlns:a16="http://schemas.microsoft.com/office/drawing/2014/main" id="{3D156405-A297-2E71-902B-C9FB2D1E999C}"/>
              </a:ext>
            </a:extLst>
          </p:cNvPr>
          <p:cNvGraphicFramePr/>
          <p:nvPr>
            <p:extLst>
              <p:ext uri="{D42A27DB-BD31-4B8C-83A1-F6EECF244321}">
                <p14:modId xmlns:p14="http://schemas.microsoft.com/office/powerpoint/2010/main" val="2630172104"/>
              </p:ext>
            </p:extLst>
          </p:nvPr>
        </p:nvGraphicFramePr>
        <p:xfrm>
          <a:off x="6248357" y="4973505"/>
          <a:ext cx="5486400" cy="670520"/>
        </p:xfrm>
        <a:graphic>
          <a:graphicData uri="http://schemas.openxmlformats.org/drawingml/2006/table">
            <a:tbl>
              <a:tblPr>
                <a:noFill/>
              </a:tblPr>
              <a:tblGrid>
                <a:gridCol w="1828800">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tblGrid>
              <a:tr h="593175">
                <a:tc>
                  <a:txBody>
                    <a:bodyPr/>
                    <a:lstStyle/>
                    <a:p>
                      <a:pPr marL="0" lvl="0" indent="0" algn="ctr" rtl="0">
                        <a:spcBef>
                          <a:spcPts val="0"/>
                        </a:spcBef>
                        <a:spcAft>
                          <a:spcPts val="0"/>
                        </a:spcAft>
                        <a:buNone/>
                      </a:pPr>
                      <a:r>
                        <a:rPr lang="en" sz="2000" b="1" dirty="0">
                          <a:solidFill>
                            <a:schemeClr val="lt1"/>
                          </a:solidFill>
                          <a:latin typeface="Fira Sans Extra Condensed"/>
                          <a:ea typeface="Fira Sans Extra Condensed"/>
                          <a:cs typeface="Fira Sans Extra Condensed"/>
                          <a:sym typeface="Fira Sans Extra Condensed"/>
                        </a:rPr>
                        <a:t>3 </a:t>
                      </a:r>
                      <a:r>
                        <a:rPr lang="en" sz="2000" b="1" dirty="0" err="1">
                          <a:solidFill>
                            <a:schemeClr val="lt1"/>
                          </a:solidFill>
                          <a:latin typeface="Fira Sans Extra Condensed"/>
                          <a:ea typeface="Fira Sans Extra Condensed"/>
                          <a:cs typeface="Fira Sans Extra Condensed"/>
                          <a:sym typeface="Fira Sans Extra Condensed"/>
                        </a:rPr>
                        <a:t>Dự</a:t>
                      </a:r>
                      <a:r>
                        <a:rPr lang="en" sz="2000" b="1" dirty="0">
                          <a:solidFill>
                            <a:schemeClr val="lt1"/>
                          </a:solidFill>
                          <a:latin typeface="Fira Sans Extra Condensed"/>
                          <a:ea typeface="Fira Sans Extra Condensed"/>
                          <a:cs typeface="Fira Sans Extra Condensed"/>
                          <a:sym typeface="Fira Sans Extra Condensed"/>
                        </a:rPr>
                        <a:t> </a:t>
                      </a:r>
                      <a:r>
                        <a:rPr lang="en" sz="2000" b="1" dirty="0" err="1">
                          <a:solidFill>
                            <a:schemeClr val="lt1"/>
                          </a:solidFill>
                          <a:latin typeface="Fira Sans Extra Condensed"/>
                          <a:ea typeface="Fira Sans Extra Condensed"/>
                          <a:cs typeface="Fira Sans Extra Condensed"/>
                          <a:sym typeface="Fira Sans Extra Condensed"/>
                        </a:rPr>
                        <a:t>án</a:t>
                      </a:r>
                      <a:endParaRPr sz="2000" b="1" dirty="0">
                        <a:solidFill>
                          <a:schemeClr val="lt1"/>
                        </a:solidFill>
                        <a:latin typeface="Fira Sans Extra Condensed"/>
                        <a:ea typeface="Fira Sans Extra Condensed"/>
                        <a:cs typeface="Fira Sans Extra Condensed"/>
                        <a:sym typeface="Fira Sans Extra Condensed"/>
                      </a:endParaRPr>
                    </a:p>
                  </a:txBody>
                  <a:tcPr marL="121900" marR="121900" marT="121900" marB="1219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accent2"/>
                    </a:solidFill>
                  </a:tcPr>
                </a:tc>
                <a:tc gridSpan="2">
                  <a:txBody>
                    <a:bodyPr/>
                    <a:lstStyle/>
                    <a:p>
                      <a:pPr marL="0" lvl="0" indent="0" algn="ctr" rtl="0">
                        <a:spcBef>
                          <a:spcPts val="0"/>
                        </a:spcBef>
                        <a:spcAft>
                          <a:spcPts val="0"/>
                        </a:spcAft>
                        <a:buNone/>
                      </a:pPr>
                      <a:r>
                        <a:rPr lang="en" sz="2400" b="1" dirty="0">
                          <a:solidFill>
                            <a:schemeClr val="accent2"/>
                          </a:solidFill>
                          <a:latin typeface="Fira Sans Extra Condensed"/>
                          <a:ea typeface="Fira Sans Extra Condensed"/>
                          <a:cs typeface="Fira Sans Extra Condensed"/>
                          <a:sym typeface="Fira Sans Extra Condensed"/>
                        </a:rPr>
                        <a:t>SYT, CSYT</a:t>
                      </a:r>
                      <a:r>
                        <a:rPr lang="en" sz="2800" b="1" dirty="0">
                          <a:solidFill>
                            <a:schemeClr val="accent2"/>
                          </a:solidFill>
                          <a:latin typeface="Fira Sans Extra Condensed"/>
                          <a:ea typeface="Fira Sans Extra Condensed"/>
                          <a:cs typeface="Fira Sans Extra Condensed"/>
                          <a:sym typeface="Fira Sans Extra Condensed"/>
                        </a:rPr>
                        <a:t> </a:t>
                      </a:r>
                      <a:endParaRPr sz="2800" b="1" dirty="0">
                        <a:solidFill>
                          <a:schemeClr val="accent2"/>
                        </a:solidFill>
                        <a:latin typeface="Fira Sans Extra Condensed"/>
                        <a:ea typeface="Fira Sans Extra Condensed"/>
                        <a:cs typeface="Fira Sans Extra Condensed"/>
                        <a:sym typeface="Fira Sans Extra Condensed"/>
                      </a:endParaRPr>
                    </a:p>
                  </a:txBody>
                  <a:tcPr marL="121900" marR="121900" marT="121900" marB="1219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rgbClr val="3C8A97">
                        <a:alpha val="12549"/>
                      </a:srgbClr>
                    </a:solidFill>
                  </a:tcPr>
                </a:tc>
                <a:tc hMerge="1">
                  <a:txBody>
                    <a:bodyPr/>
                    <a:lstStyle/>
                    <a:p>
                      <a:endParaRPr lang="en-CH"/>
                    </a:p>
                  </a:txBody>
                  <a:tcPr/>
                </a:tc>
                <a:extLst>
                  <a:ext uri="{0D108BD9-81ED-4DB2-BD59-A6C34878D82A}">
                    <a16:rowId xmlns:a16="http://schemas.microsoft.com/office/drawing/2014/main" val="10000"/>
                  </a:ext>
                </a:extLst>
              </a:tr>
            </a:tbl>
          </a:graphicData>
        </a:graphic>
      </p:graphicFrame>
      <p:sp>
        <p:nvSpPr>
          <p:cNvPr id="5" name="Google Shape;412;p19">
            <a:extLst>
              <a:ext uri="{FF2B5EF4-FFF2-40B4-BE49-F238E27FC236}">
                <a16:creationId xmlns:a16="http://schemas.microsoft.com/office/drawing/2014/main" id="{ADC2CC4B-7338-2C6D-F8C2-FE9BCCA8B27A}"/>
              </a:ext>
            </a:extLst>
          </p:cNvPr>
          <p:cNvSpPr txBox="1"/>
          <p:nvPr/>
        </p:nvSpPr>
        <p:spPr>
          <a:xfrm>
            <a:off x="657770" y="1333134"/>
            <a:ext cx="5152627" cy="5180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vi-VN" sz="2400" b="1">
                <a:solidFill>
                  <a:schemeClr val="lt1"/>
                </a:solidFill>
                <a:latin typeface="Fira Sans Extra Condensed"/>
                <a:ea typeface="Fira Sans Extra Condensed"/>
                <a:cs typeface="Fira Sans Extra Condensed"/>
                <a:sym typeface="Fira Sans Extra Condensed"/>
              </a:rPr>
              <a:t>Văn phòng Quốc gia Việt Nam</a:t>
            </a:r>
          </a:p>
        </p:txBody>
      </p:sp>
      <p:sp>
        <p:nvSpPr>
          <p:cNvPr id="8" name="Google Shape;1093;p35">
            <a:extLst>
              <a:ext uri="{FF2B5EF4-FFF2-40B4-BE49-F238E27FC236}">
                <a16:creationId xmlns:a16="http://schemas.microsoft.com/office/drawing/2014/main" id="{63A2B5E2-6DFF-AD1E-F7D0-642E69B5E06D}"/>
              </a:ext>
            </a:extLst>
          </p:cNvPr>
          <p:cNvSpPr txBox="1"/>
          <p:nvPr/>
        </p:nvSpPr>
        <p:spPr>
          <a:xfrm>
            <a:off x="609600" y="4254333"/>
            <a:ext cx="5053595" cy="1737200"/>
          </a:xfrm>
          <a:prstGeom prst="rect">
            <a:avLst/>
          </a:prstGeom>
          <a:noFill/>
          <a:ln>
            <a:noFill/>
          </a:ln>
        </p:spPr>
        <p:txBody>
          <a:bodyPr spcFirstLastPara="1" wrap="square" lIns="121900" tIns="121900" rIns="121900" bIns="121900" anchor="ctr" anchorCtr="0">
            <a:noAutofit/>
          </a:bodyPr>
          <a:lstStyle/>
          <a:p>
            <a:pPr marL="342900" indent="-342900">
              <a:spcBef>
                <a:spcPts val="1200"/>
              </a:spcBef>
              <a:buFont typeface="Wingdings" pitchFamily="2" charset="2"/>
              <a:buChar char="v"/>
            </a:pPr>
            <a:r>
              <a:rPr lang="vi-VN" sz="1600" dirty="0"/>
              <a:t>Hỗ trợ tăng cường năng lực chẩn đoán lao và tối ưu hoá hệ thống xét nghiệm lao </a:t>
            </a:r>
            <a:r>
              <a:rPr lang="vi-VN" sz="1400" dirty="0"/>
              <a:t> </a:t>
            </a:r>
            <a:r>
              <a:rPr lang="vi-VN" sz="1400" dirty="0">
                <a:latin typeface="Roboto"/>
                <a:ea typeface="Roboto"/>
                <a:cs typeface="Roboto"/>
                <a:sym typeface="Roboto"/>
              </a:rPr>
              <a:t> </a:t>
            </a:r>
            <a:r>
              <a:rPr lang="vi-VN" sz="1600" dirty="0">
                <a:solidFill>
                  <a:schemeClr val="dk1"/>
                </a:solidFill>
                <a:latin typeface="Roboto"/>
                <a:ea typeface="Roboto"/>
                <a:cs typeface="Roboto"/>
                <a:sym typeface="Roboto"/>
              </a:rPr>
              <a:t> </a:t>
            </a:r>
          </a:p>
          <a:p>
            <a:pPr marL="342900" indent="-342900">
              <a:spcBef>
                <a:spcPts val="1200"/>
              </a:spcBef>
              <a:buFont typeface="Wingdings" pitchFamily="2" charset="2"/>
              <a:buChar char="v"/>
            </a:pPr>
            <a:r>
              <a:rPr lang="vi-VN" sz="1600" dirty="0"/>
              <a:t>Đẩy mạnh hoạt động xét nghiệm chẩn đoán lao tại tuyến y tế cơ sở</a:t>
            </a:r>
          </a:p>
          <a:p>
            <a:pPr marL="342900" indent="-342900">
              <a:spcBef>
                <a:spcPts val="1200"/>
              </a:spcBef>
              <a:buFont typeface="Wingdings" pitchFamily="2" charset="2"/>
              <a:buChar char="v"/>
            </a:pPr>
            <a:r>
              <a:rPr lang="vi-VN" sz="1600" dirty="0"/>
              <a:t>Tăng cường các giải pháp công nghệ thông tinh cho quản lý các hoạt động xét nghiệm, chuyển gửi mẫu</a:t>
            </a:r>
            <a:endParaRPr lang="vi-VN" sz="1600" dirty="0">
              <a:latin typeface="Roboto"/>
              <a:ea typeface="Roboto"/>
              <a:sym typeface="Roboto"/>
            </a:endParaRPr>
          </a:p>
          <a:p>
            <a:pPr marL="342900" indent="-342900">
              <a:spcBef>
                <a:spcPts val="1200"/>
              </a:spcBef>
              <a:buFont typeface="Wingdings" pitchFamily="2" charset="2"/>
              <a:buChar char="v"/>
            </a:pPr>
            <a:r>
              <a:rPr lang="vi-VN" sz="1600" dirty="0">
                <a:latin typeface="Roboto"/>
                <a:ea typeface="Roboto"/>
                <a:sym typeface="Roboto"/>
              </a:rPr>
              <a:t>Hỗ trợ tăng cường quản lý chất lượng xét nghiệm nói chung và cho bệnh lao nói riêng</a:t>
            </a:r>
            <a:endParaRPr lang="vi-VN" dirty="0">
              <a:latin typeface="Roboto"/>
              <a:ea typeface="Roboto"/>
              <a:sym typeface="Roboto"/>
            </a:endParaRPr>
          </a:p>
          <a:p>
            <a:pPr marL="342900" indent="-342900">
              <a:spcBef>
                <a:spcPts val="600"/>
              </a:spcBef>
              <a:buFont typeface="Arial" panose="020B0604020202020204" pitchFamily="34" charset="0"/>
              <a:buChar char="•"/>
            </a:pPr>
            <a:endParaRPr lang="vi-VN" dirty="0"/>
          </a:p>
          <a:p>
            <a:pPr marL="342900" indent="-342900">
              <a:spcBef>
                <a:spcPts val="600"/>
              </a:spcBef>
              <a:buFont typeface="Arial" panose="020B0604020202020204" pitchFamily="34" charset="0"/>
              <a:buChar char="•"/>
            </a:pPr>
            <a:endParaRPr lang="vi-VN" i="1" dirty="0">
              <a:solidFill>
                <a:srgbClr val="0070C0"/>
              </a:solidFill>
              <a:latin typeface="Roboto"/>
              <a:ea typeface="Roboto"/>
              <a:cs typeface="Roboto"/>
              <a:sym typeface="Roboto"/>
            </a:endParaRPr>
          </a:p>
          <a:p>
            <a:pPr marL="342900" indent="-342900">
              <a:spcBef>
                <a:spcPts val="600"/>
              </a:spcBef>
              <a:buFont typeface="Arial" panose="020B0604020202020204" pitchFamily="34" charset="0"/>
              <a:buChar char="•"/>
            </a:pPr>
            <a:endParaRPr lang="vi-VN" sz="2000" dirty="0">
              <a:solidFill>
                <a:schemeClr val="dk1"/>
              </a:solidFill>
              <a:latin typeface="Roboto"/>
              <a:ea typeface="Roboto"/>
              <a:cs typeface="Roboto"/>
              <a:sym typeface="Roboto"/>
            </a:endParaRPr>
          </a:p>
          <a:p>
            <a:pPr>
              <a:lnSpc>
                <a:spcPct val="200000"/>
              </a:lnSpc>
            </a:pPr>
            <a:endParaRPr lang="vi-VN" sz="2000" dirty="0">
              <a:solidFill>
                <a:schemeClr val="dk1"/>
              </a:solidFill>
              <a:latin typeface="Roboto"/>
              <a:ea typeface="Roboto"/>
              <a:cs typeface="Roboto"/>
              <a:sym typeface="Roboto"/>
            </a:endParaRPr>
          </a:p>
        </p:txBody>
      </p:sp>
      <p:sp>
        <p:nvSpPr>
          <p:cNvPr id="13" name="TextBox 12">
            <a:extLst>
              <a:ext uri="{FF2B5EF4-FFF2-40B4-BE49-F238E27FC236}">
                <a16:creationId xmlns:a16="http://schemas.microsoft.com/office/drawing/2014/main" id="{7CDE2670-C554-32C2-DFEC-2CB171DAE6A5}"/>
              </a:ext>
            </a:extLst>
          </p:cNvPr>
          <p:cNvSpPr txBox="1"/>
          <p:nvPr/>
        </p:nvSpPr>
        <p:spPr>
          <a:xfrm>
            <a:off x="422910" y="435120"/>
            <a:ext cx="8761646" cy="615553"/>
          </a:xfrm>
          <a:prstGeom prst="rect">
            <a:avLst/>
          </a:prstGeom>
          <a:noFill/>
        </p:spPr>
        <p:txBody>
          <a:bodyPr wrap="square" tIns="91440" bIns="91440" rtlCol="0">
            <a:spAutoFit/>
          </a:bodyPr>
          <a:lstStyle/>
          <a:p>
            <a:r>
              <a:rPr lang="vi-VN" sz="2800" b="1" dirty="0">
                <a:solidFill>
                  <a:schemeClr val="accent5">
                    <a:lumMod val="50000"/>
                  </a:schemeClr>
                </a:solidFill>
                <a:latin typeface="Noto Sans Hanunoo" panose="020B0502040504020204" pitchFamily="34" charset="0"/>
              </a:rPr>
              <a:t>TÓM TẮT CHƯƠNG TRÌNH</a:t>
            </a:r>
          </a:p>
        </p:txBody>
      </p:sp>
      <p:graphicFrame>
        <p:nvGraphicFramePr>
          <p:cNvPr id="11" name="Google Shape;1095;p35">
            <a:extLst>
              <a:ext uri="{FF2B5EF4-FFF2-40B4-BE49-F238E27FC236}">
                <a16:creationId xmlns:a16="http://schemas.microsoft.com/office/drawing/2014/main" id="{FFFC9549-85D8-E4A7-CAAF-A63582A63EC1}"/>
              </a:ext>
            </a:extLst>
          </p:cNvPr>
          <p:cNvGraphicFramePr/>
          <p:nvPr>
            <p:extLst>
              <p:ext uri="{D42A27DB-BD31-4B8C-83A1-F6EECF244321}">
                <p14:modId xmlns:p14="http://schemas.microsoft.com/office/powerpoint/2010/main" val="1570805948"/>
              </p:ext>
            </p:extLst>
          </p:nvPr>
        </p:nvGraphicFramePr>
        <p:xfrm>
          <a:off x="6237471" y="3493070"/>
          <a:ext cx="5486400" cy="693255"/>
        </p:xfrm>
        <a:graphic>
          <a:graphicData uri="http://schemas.openxmlformats.org/drawingml/2006/table">
            <a:tbl>
              <a:tblPr>
                <a:noFill/>
              </a:tblPr>
              <a:tblGrid>
                <a:gridCol w="1828800">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tblGrid>
              <a:tr h="693255">
                <a:tc>
                  <a:txBody>
                    <a:bodyPr/>
                    <a:lstStyle/>
                    <a:p>
                      <a:pPr marL="0" lvl="0" indent="0" algn="ctr" rtl="0">
                        <a:spcBef>
                          <a:spcPts val="0"/>
                        </a:spcBef>
                        <a:spcAft>
                          <a:spcPts val="0"/>
                        </a:spcAft>
                        <a:buNone/>
                      </a:pPr>
                      <a:r>
                        <a:rPr lang="en" sz="2000" b="1" dirty="0">
                          <a:solidFill>
                            <a:schemeClr val="lt1"/>
                          </a:solidFill>
                          <a:latin typeface="Fira Sans Extra Condensed"/>
                          <a:ea typeface="Fira Sans Extra Condensed"/>
                          <a:cs typeface="Fira Sans Extra Condensed"/>
                          <a:sym typeface="Fira Sans Extra Condensed"/>
                        </a:rPr>
                        <a:t>4 </a:t>
                      </a:r>
                      <a:r>
                        <a:rPr lang="en" sz="2000" b="1" dirty="0" err="1">
                          <a:solidFill>
                            <a:schemeClr val="lt1"/>
                          </a:solidFill>
                          <a:latin typeface="Fira Sans Extra Condensed"/>
                          <a:ea typeface="Fira Sans Extra Condensed"/>
                          <a:cs typeface="Fira Sans Extra Condensed"/>
                          <a:sym typeface="Fira Sans Extra Condensed"/>
                        </a:rPr>
                        <a:t>Dự</a:t>
                      </a:r>
                      <a:r>
                        <a:rPr lang="en" sz="2000" b="1" dirty="0">
                          <a:solidFill>
                            <a:schemeClr val="lt1"/>
                          </a:solidFill>
                          <a:latin typeface="Fira Sans Extra Condensed"/>
                          <a:ea typeface="Fira Sans Extra Condensed"/>
                          <a:cs typeface="Fira Sans Extra Condensed"/>
                          <a:sym typeface="Fira Sans Extra Condensed"/>
                        </a:rPr>
                        <a:t> </a:t>
                      </a:r>
                      <a:r>
                        <a:rPr lang="en" sz="2000" b="1" dirty="0" err="1">
                          <a:solidFill>
                            <a:schemeClr val="lt1"/>
                          </a:solidFill>
                          <a:latin typeface="Fira Sans Extra Condensed"/>
                          <a:ea typeface="Fira Sans Extra Condensed"/>
                          <a:cs typeface="Fira Sans Extra Condensed"/>
                          <a:sym typeface="Fira Sans Extra Condensed"/>
                        </a:rPr>
                        <a:t>án</a:t>
                      </a:r>
                      <a:endParaRPr sz="2000" b="1" dirty="0">
                        <a:solidFill>
                          <a:schemeClr val="lt1"/>
                        </a:solidFill>
                        <a:latin typeface="Fira Sans Extra Condensed"/>
                        <a:ea typeface="Fira Sans Extra Condensed"/>
                        <a:cs typeface="Fira Sans Extra Condensed"/>
                        <a:sym typeface="Fira Sans Extra Condensed"/>
                      </a:endParaRPr>
                    </a:p>
                  </a:txBody>
                  <a:tcPr marL="121900" marR="121900" marT="121900" marB="1219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accent2"/>
                    </a:solidFill>
                  </a:tcPr>
                </a:tc>
                <a:tc gridSpan="2">
                  <a:txBody>
                    <a:bodyPr/>
                    <a:lstStyle/>
                    <a:p>
                      <a:pPr marL="0" lvl="0" indent="0" algn="ctr" rtl="0">
                        <a:spcBef>
                          <a:spcPts val="0"/>
                        </a:spcBef>
                        <a:spcAft>
                          <a:spcPts val="0"/>
                        </a:spcAft>
                        <a:buNone/>
                      </a:pPr>
                      <a:r>
                        <a:rPr lang="en" sz="2000" b="1" dirty="0">
                          <a:solidFill>
                            <a:schemeClr val="accent2"/>
                          </a:solidFill>
                          <a:latin typeface="Fira Sans Extra Condensed"/>
                          <a:ea typeface="Fira Sans Extra Condensed"/>
                          <a:cs typeface="Fira Sans Extra Condensed"/>
                          <a:sym typeface="Fira Sans Extra Condensed"/>
                        </a:rPr>
                        <a:t>BYT, </a:t>
                      </a:r>
                      <a:r>
                        <a:rPr lang="en" sz="2000" b="1" dirty="0" err="1">
                          <a:solidFill>
                            <a:schemeClr val="accent2"/>
                          </a:solidFill>
                          <a:latin typeface="Fira Sans Extra Condensed"/>
                          <a:ea typeface="Fira Sans Extra Condensed"/>
                          <a:cs typeface="Fira Sans Extra Condensed"/>
                          <a:sym typeface="Fira Sans Extra Condensed"/>
                        </a:rPr>
                        <a:t>Viện</a:t>
                      </a:r>
                      <a:r>
                        <a:rPr lang="en" sz="2000" b="1" dirty="0">
                          <a:solidFill>
                            <a:schemeClr val="accent2"/>
                          </a:solidFill>
                          <a:latin typeface="Fira Sans Extra Condensed"/>
                          <a:ea typeface="Fira Sans Extra Condensed"/>
                          <a:cs typeface="Fira Sans Extra Condensed"/>
                          <a:sym typeface="Fira Sans Extra Condensed"/>
                        </a:rPr>
                        <a:t> CLCSYT</a:t>
                      </a:r>
                      <a:endParaRPr sz="2400" b="1" dirty="0">
                        <a:solidFill>
                          <a:schemeClr val="accent2"/>
                        </a:solidFill>
                        <a:latin typeface="Fira Sans Extra Condensed"/>
                        <a:ea typeface="Fira Sans Extra Condensed"/>
                        <a:cs typeface="Fira Sans Extra Condensed"/>
                        <a:sym typeface="Fira Sans Extra Condensed"/>
                      </a:endParaRPr>
                    </a:p>
                  </a:txBody>
                  <a:tcPr marL="121900" marR="121900" marT="121900" marB="1219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rgbClr val="3C8A97">
                        <a:alpha val="12549"/>
                      </a:srgbClr>
                    </a:solidFill>
                  </a:tcPr>
                </a:tc>
                <a:tc hMerge="1">
                  <a:txBody>
                    <a:bodyPr/>
                    <a:lstStyle/>
                    <a:p>
                      <a:endParaRPr lang="en-CH"/>
                    </a:p>
                  </a:txBody>
                  <a:tcPr/>
                </a:tc>
                <a:extLst>
                  <a:ext uri="{0D108BD9-81ED-4DB2-BD59-A6C34878D82A}">
                    <a16:rowId xmlns:a16="http://schemas.microsoft.com/office/drawing/2014/main" val="10000"/>
                  </a:ext>
                </a:extLst>
              </a:tr>
            </a:tbl>
          </a:graphicData>
        </a:graphic>
      </p:graphicFrame>
      <p:graphicFrame>
        <p:nvGraphicFramePr>
          <p:cNvPr id="3" name="Google Shape;1095;p35">
            <a:extLst>
              <a:ext uri="{FF2B5EF4-FFF2-40B4-BE49-F238E27FC236}">
                <a16:creationId xmlns:a16="http://schemas.microsoft.com/office/drawing/2014/main" id="{380D58BF-8C1F-692F-D044-49A2A4C73B79}"/>
              </a:ext>
            </a:extLst>
          </p:cNvPr>
          <p:cNvGraphicFramePr/>
          <p:nvPr>
            <p:extLst>
              <p:ext uri="{D42A27DB-BD31-4B8C-83A1-F6EECF244321}">
                <p14:modId xmlns:p14="http://schemas.microsoft.com/office/powerpoint/2010/main" val="2185728706"/>
              </p:ext>
            </p:extLst>
          </p:nvPr>
        </p:nvGraphicFramePr>
        <p:xfrm>
          <a:off x="6270129" y="5737533"/>
          <a:ext cx="5486400" cy="670520"/>
        </p:xfrm>
        <a:graphic>
          <a:graphicData uri="http://schemas.openxmlformats.org/drawingml/2006/table">
            <a:tbl>
              <a:tblPr>
                <a:noFill/>
              </a:tblPr>
              <a:tblGrid>
                <a:gridCol w="1828800">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1828800">
                  <a:extLst>
                    <a:ext uri="{9D8B030D-6E8A-4147-A177-3AD203B41FA5}">
                      <a16:colId xmlns:a16="http://schemas.microsoft.com/office/drawing/2014/main" val="20002"/>
                    </a:ext>
                  </a:extLst>
                </a:gridCol>
              </a:tblGrid>
              <a:tr h="670520">
                <a:tc>
                  <a:txBody>
                    <a:bodyPr/>
                    <a:lstStyle/>
                    <a:p>
                      <a:pPr marL="0" lvl="0" indent="0" algn="ctr" rtl="0">
                        <a:spcBef>
                          <a:spcPts val="0"/>
                        </a:spcBef>
                        <a:spcAft>
                          <a:spcPts val="0"/>
                        </a:spcAft>
                        <a:buNone/>
                      </a:pPr>
                      <a:r>
                        <a:rPr lang="en" sz="2000" b="1" dirty="0">
                          <a:solidFill>
                            <a:schemeClr val="lt1"/>
                          </a:solidFill>
                          <a:latin typeface="Fira Sans Extra Condensed"/>
                          <a:ea typeface="Fira Sans Extra Condensed"/>
                          <a:cs typeface="Fira Sans Extra Condensed"/>
                          <a:sym typeface="Fira Sans Extra Condensed"/>
                        </a:rPr>
                        <a:t>2 </a:t>
                      </a:r>
                      <a:r>
                        <a:rPr lang="en" sz="2000" b="1" dirty="0" err="1">
                          <a:solidFill>
                            <a:schemeClr val="lt1"/>
                          </a:solidFill>
                          <a:latin typeface="Fira Sans Extra Condensed"/>
                          <a:ea typeface="Fira Sans Extra Condensed"/>
                          <a:cs typeface="Fira Sans Extra Condensed"/>
                          <a:sym typeface="Fira Sans Extra Condensed"/>
                        </a:rPr>
                        <a:t>Dự</a:t>
                      </a:r>
                      <a:r>
                        <a:rPr lang="en" sz="2000" b="1" dirty="0">
                          <a:solidFill>
                            <a:schemeClr val="lt1"/>
                          </a:solidFill>
                          <a:latin typeface="Fira Sans Extra Condensed"/>
                          <a:ea typeface="Fira Sans Extra Condensed"/>
                          <a:cs typeface="Fira Sans Extra Condensed"/>
                          <a:sym typeface="Fira Sans Extra Condensed"/>
                        </a:rPr>
                        <a:t> </a:t>
                      </a:r>
                      <a:r>
                        <a:rPr lang="en" sz="2000" b="1" dirty="0" err="1">
                          <a:solidFill>
                            <a:schemeClr val="lt1"/>
                          </a:solidFill>
                          <a:latin typeface="Fira Sans Extra Condensed"/>
                          <a:ea typeface="Fira Sans Extra Condensed"/>
                          <a:cs typeface="Fira Sans Extra Condensed"/>
                          <a:sym typeface="Fira Sans Extra Condensed"/>
                        </a:rPr>
                        <a:t>án</a:t>
                      </a:r>
                      <a:endParaRPr sz="2000" b="1" dirty="0">
                        <a:solidFill>
                          <a:schemeClr val="lt1"/>
                        </a:solidFill>
                        <a:latin typeface="Fira Sans Extra Condensed"/>
                        <a:ea typeface="Fira Sans Extra Condensed"/>
                        <a:cs typeface="Fira Sans Extra Condensed"/>
                        <a:sym typeface="Fira Sans Extra Condensed"/>
                      </a:endParaRPr>
                    </a:p>
                  </a:txBody>
                  <a:tcPr marL="121900" marR="121900" marT="121900" marB="1219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chemeClr val="accent2"/>
                    </a:solidFill>
                  </a:tcPr>
                </a:tc>
                <a:tc gridSpan="2">
                  <a:txBody>
                    <a:bodyPr/>
                    <a:lstStyle/>
                    <a:p>
                      <a:pPr marL="0" lvl="0" indent="0" algn="ctr" rtl="0">
                        <a:spcBef>
                          <a:spcPts val="0"/>
                        </a:spcBef>
                        <a:spcAft>
                          <a:spcPts val="0"/>
                        </a:spcAft>
                        <a:buNone/>
                      </a:pPr>
                      <a:r>
                        <a:rPr lang="en" sz="2400" b="1" dirty="0" err="1">
                          <a:solidFill>
                            <a:schemeClr val="accent2"/>
                          </a:solidFill>
                          <a:latin typeface="Fira Sans Extra Condensed"/>
                          <a:ea typeface="Fira Sans Extra Condensed"/>
                          <a:cs typeface="Fira Sans Extra Condensed"/>
                          <a:sym typeface="Fira Sans Extra Condensed"/>
                        </a:rPr>
                        <a:t>Viện</a:t>
                      </a:r>
                      <a:r>
                        <a:rPr lang="en" sz="2400" b="1" dirty="0">
                          <a:solidFill>
                            <a:schemeClr val="accent2"/>
                          </a:solidFill>
                          <a:latin typeface="Fira Sans Extra Condensed"/>
                          <a:ea typeface="Fira Sans Extra Condensed"/>
                          <a:cs typeface="Fira Sans Extra Condensed"/>
                          <a:sym typeface="Fira Sans Extra Condensed"/>
                        </a:rPr>
                        <a:t> Pasteur, CDC</a:t>
                      </a:r>
                      <a:endParaRPr sz="2800" b="1" dirty="0">
                        <a:solidFill>
                          <a:schemeClr val="accent2"/>
                        </a:solidFill>
                        <a:latin typeface="Fira Sans Extra Condensed"/>
                        <a:ea typeface="Fira Sans Extra Condensed"/>
                        <a:cs typeface="Fira Sans Extra Condensed"/>
                        <a:sym typeface="Fira Sans Extra Condensed"/>
                      </a:endParaRPr>
                    </a:p>
                  </a:txBody>
                  <a:tcPr marL="121900" marR="121900" marT="121900" marB="121900"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E9E9E">
                          <a:alpha val="0"/>
                        </a:srgbClr>
                      </a:solidFill>
                      <a:prstDash val="solid"/>
                      <a:round/>
                      <a:headEnd type="none" w="sm" len="sm"/>
                      <a:tailEnd type="none" w="sm" len="sm"/>
                    </a:lnB>
                    <a:solidFill>
                      <a:srgbClr val="3C8A97">
                        <a:alpha val="12549"/>
                      </a:srgbClr>
                    </a:solidFill>
                  </a:tcPr>
                </a:tc>
                <a:tc hMerge="1">
                  <a:txBody>
                    <a:bodyPr/>
                    <a:lstStyle/>
                    <a:p>
                      <a:endParaRPr lang="en-CH"/>
                    </a:p>
                  </a:txBody>
                  <a:tcPr/>
                </a:tc>
                <a:extLst>
                  <a:ext uri="{0D108BD9-81ED-4DB2-BD59-A6C34878D82A}">
                    <a16:rowId xmlns:a16="http://schemas.microsoft.com/office/drawing/2014/main" val="10000"/>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8137167" y="1501216"/>
            <a:ext cx="1920944" cy="1811112"/>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lang="vi-VN" sz="1600" b="1" dirty="0">
                <a:latin typeface="Calibri" panose="020F0502020204030204" pitchFamily="34" charset="0"/>
                <a:cs typeface="Calibri" panose="020F0502020204030204" pitchFamily="34" charset="0"/>
              </a:rPr>
              <a:t>Hỗ trợ CTCLQG thông qua tài trợ của Quỹ Toàn cầu </a:t>
            </a:r>
          </a:p>
          <a:p>
            <a:pPr algn="ctr"/>
            <a:r>
              <a:rPr lang="vi-VN" sz="1600" b="1" dirty="0">
                <a:latin typeface="Calibri" panose="020F0502020204030204" pitchFamily="34" charset="0"/>
                <a:cs typeface="Calibri" panose="020F0502020204030204" pitchFamily="34" charset="0"/>
              </a:rPr>
              <a:t>(2015-2017)</a:t>
            </a:r>
          </a:p>
        </p:txBody>
      </p:sp>
      <p:sp>
        <p:nvSpPr>
          <p:cNvPr id="5" name="Rounded Rectangle 4"/>
          <p:cNvSpPr/>
          <p:nvPr/>
        </p:nvSpPr>
        <p:spPr>
          <a:xfrm>
            <a:off x="1426248" y="1501216"/>
            <a:ext cx="1920944" cy="1811112"/>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lang="vi-VN" sz="1600" b="1" dirty="0">
                <a:latin typeface="Calibri" panose="020F0502020204030204" pitchFamily="34" charset="0"/>
                <a:cs typeface="Calibri" panose="020F0502020204030204" pitchFamily="34" charset="0"/>
              </a:rPr>
              <a:t>Dự án </a:t>
            </a:r>
          </a:p>
          <a:p>
            <a:pPr algn="ctr"/>
            <a:r>
              <a:rPr lang="en-VN" sz="1600" b="1" dirty="0">
                <a:latin typeface="Calibri" panose="020F0502020204030204" pitchFamily="34" charset="0"/>
                <a:cs typeface="Calibri" panose="020F0502020204030204" pitchFamily="34" charset="0"/>
              </a:rPr>
              <a:t>EXPAND-TB</a:t>
            </a:r>
          </a:p>
          <a:p>
            <a:pPr algn="ctr"/>
            <a:r>
              <a:rPr lang="en-VN" sz="1600" b="1" dirty="0">
                <a:latin typeface="Calibri" panose="020F0502020204030204" pitchFamily="34" charset="0"/>
                <a:cs typeface="Calibri" panose="020F0502020204030204" pitchFamily="34" charset="0"/>
              </a:rPr>
              <a:t>(2012-2015)</a:t>
            </a:r>
          </a:p>
          <a:p>
            <a:pPr algn="ctr"/>
            <a:endParaRPr lang="vi-VN" sz="1600" b="1" dirty="0">
              <a:latin typeface="Calibri" panose="020F0502020204030204" pitchFamily="34" charset="0"/>
              <a:cs typeface="Calibri" panose="020F0502020204030204" pitchFamily="34" charset="0"/>
            </a:endParaRPr>
          </a:p>
        </p:txBody>
      </p:sp>
      <p:sp>
        <p:nvSpPr>
          <p:cNvPr id="11" name="Rectangle 10"/>
          <p:cNvSpPr/>
          <p:nvPr/>
        </p:nvSpPr>
        <p:spPr>
          <a:xfrm>
            <a:off x="901874" y="3545673"/>
            <a:ext cx="2893512"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Cung cấp thiết bị XN chẩn đoán TB và MDR-TB. </a:t>
            </a:r>
          </a:p>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Tăng cường công tác quản lý ATSH PXN.</a:t>
            </a:r>
          </a:p>
          <a:p>
            <a:pPr marL="82064" lvl="1">
              <a:buClr>
                <a:srgbClr val="43ABB6"/>
              </a:buClr>
              <a:buSzPct val="100000"/>
            </a:pPr>
            <a:endParaRPr lang="vi-VN" sz="1600" dirty="0">
              <a:solidFill>
                <a:srgbClr val="000000"/>
              </a:solidFill>
              <a:latin typeface="Calibri" panose="020F0502020204030204" pitchFamily="34" charset="0"/>
              <a:cs typeface="Calibri" panose="020F0502020204030204" pitchFamily="34" charset="0"/>
            </a:endParaRPr>
          </a:p>
        </p:txBody>
      </p:sp>
      <p:sp>
        <p:nvSpPr>
          <p:cNvPr id="4" name="Rounded Rectangle 3"/>
          <p:cNvSpPr/>
          <p:nvPr/>
        </p:nvSpPr>
        <p:spPr>
          <a:xfrm>
            <a:off x="4735483" y="1501216"/>
            <a:ext cx="1920944" cy="1811112"/>
          </a:xfrm>
          <a:prstGeom prst="round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kumimoji="0" lang="vi-VN" sz="16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Trebuchet MS" panose="020B0603020202020204" pitchFamily="34" charset="0"/>
              </a:rPr>
              <a:t>Tăng cường hệ thống QLCL chẩn đoán bệnh lao (TB) </a:t>
            </a:r>
            <a:r>
              <a:rPr kumimoji="0" lang="vi-VN" sz="1600"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Trebuchet MS" panose="020B0603020202020204" pitchFamily="34" charset="0"/>
              </a:rPr>
              <a:t>(2012-2017)</a:t>
            </a:r>
            <a:endParaRPr lang="vi-VN" sz="1600" dirty="0">
              <a:solidFill>
                <a:schemeClr val="bg1"/>
              </a:solidFill>
              <a:latin typeface="Calibri" panose="020F0502020204030204" pitchFamily="34" charset="0"/>
              <a:cs typeface="Calibri" panose="020F0502020204030204" pitchFamily="34" charset="0"/>
            </a:endParaRPr>
          </a:p>
        </p:txBody>
      </p:sp>
      <p:sp>
        <p:nvSpPr>
          <p:cNvPr id="12" name="Rectangle 11"/>
          <p:cNvSpPr/>
          <p:nvPr/>
        </p:nvSpPr>
        <p:spPr>
          <a:xfrm>
            <a:off x="4134834" y="3545673"/>
            <a:ext cx="3080158"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buClr>
                <a:srgbClr val="43ABB6"/>
              </a:buClr>
              <a:buSzPct val="100000"/>
              <a:buFont typeface="Arial" panose="020B0604020202020204" pitchFamily="34" charset="0"/>
              <a:buChar char="•"/>
            </a:pPr>
            <a:r>
              <a:rPr lang="vi-VN" sz="1600" dirty="0">
                <a:solidFill>
                  <a:schemeClr val="accent6">
                    <a:lumMod val="50000"/>
                  </a:schemeClr>
                </a:solidFill>
                <a:latin typeface="Calibri" panose="020F0502020204030204" pitchFamily="34" charset="0"/>
                <a:cs typeface="Calibri" panose="020F0502020204030204" pitchFamily="34" charset="0"/>
                <a:sym typeface="Trebuchet MS" panose="020B0603020202020204" pitchFamily="34" charset="0"/>
              </a:rPr>
              <a:t>Chương trình TB SLMTA (Tăng cường quản lý chất lượng phòng xét nghiệm lao hướng tới công nhận).</a:t>
            </a:r>
          </a:p>
          <a:p>
            <a:pPr marL="247657" lvl="1" indent="-165593">
              <a:buClr>
                <a:srgbClr val="43ABB6"/>
              </a:buClr>
              <a:buSzPct val="100000"/>
              <a:buFont typeface="Arial" panose="020B0604020202020204" pitchFamily="34" charset="0"/>
              <a:buChar char="•"/>
            </a:pPr>
            <a:endParaRPr lang="vi-VN" sz="1600" dirty="0">
              <a:solidFill>
                <a:schemeClr val="accent6">
                  <a:lumMod val="50000"/>
                </a:schemeClr>
              </a:solidFill>
              <a:latin typeface="Calibri" panose="020F0502020204030204" pitchFamily="34" charset="0"/>
              <a:cs typeface="Calibri" panose="020F0502020204030204" pitchFamily="34" charset="0"/>
            </a:endParaRPr>
          </a:p>
        </p:txBody>
      </p:sp>
      <p:sp>
        <p:nvSpPr>
          <p:cNvPr id="13" name="Rectangle 12"/>
          <p:cNvSpPr/>
          <p:nvPr/>
        </p:nvSpPr>
        <p:spPr>
          <a:xfrm>
            <a:off x="7690982" y="3429000"/>
            <a:ext cx="3393354"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Hỗ trợ hoạt động ngoại kiểm (EQA)</a:t>
            </a:r>
          </a:p>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Hỗ trợ phát triển panel mẫu thử đánh giá năng lực XN Xpert và LPA,  giúp TB NRL trở thành PXN cung cấp panel mãu thử phục vụ ngoại kiểm cho khu vực</a:t>
            </a:r>
          </a:p>
        </p:txBody>
      </p:sp>
      <p:pic>
        <p:nvPicPr>
          <p:cNvPr id="30" name="Picture 36" descr="https://d30y9cdsu7xlg0.cloudfront.net/png/2171-200.png"/>
          <p:cNvPicPr>
            <a:picLocks noChangeAspect="1" noChangeArrowheads="1"/>
          </p:cNvPicPr>
          <p:nvPr/>
        </p:nvPicPr>
        <p:blipFill>
          <a:blip r:embed="rId3" cstate="print">
            <a:lum bright="100000"/>
            <a:duotone>
              <a:schemeClr val="bg2">
                <a:shade val="45000"/>
                <a:satMod val="135000"/>
              </a:schemeClr>
              <a:prstClr val="white"/>
            </a:duotone>
          </a:blip>
          <a:srcRect/>
          <a:stretch>
            <a:fillRect/>
          </a:stretch>
        </p:blipFill>
        <p:spPr bwMode="auto">
          <a:xfrm>
            <a:off x="6822176" y="1346227"/>
            <a:ext cx="665396" cy="698641"/>
          </a:xfrm>
          <a:prstGeom prst="rect">
            <a:avLst/>
          </a:prstGeom>
          <a:noFill/>
          <a:ln>
            <a:noFill/>
          </a:ln>
        </p:spPr>
      </p:pic>
      <p:pic>
        <p:nvPicPr>
          <p:cNvPr id="31" name="Picture 4" descr="https://d30y9cdsu7xlg0.cloudfront.net/png/4195-200.png">
            <a:hlinkClick r:id="rId4" tooltip="cycle"/>
          </p:cNvPr>
          <p:cNvPicPr>
            <a:picLocks noChangeAspect="1" noChangeArrowheads="1"/>
          </p:cNvPicPr>
          <p:nvPr/>
        </p:nvPicPr>
        <p:blipFill>
          <a:blip r:embed="rId5" cstate="print">
            <a:lum bright="100000"/>
            <a:duotone>
              <a:schemeClr val="bg2">
                <a:shade val="45000"/>
                <a:satMod val="135000"/>
              </a:schemeClr>
              <a:prstClr val="white"/>
            </a:duotone>
          </a:blip>
          <a:srcRect/>
          <a:stretch>
            <a:fillRect/>
          </a:stretch>
        </p:blipFill>
        <p:spPr bwMode="auto">
          <a:xfrm>
            <a:off x="679660" y="1501216"/>
            <a:ext cx="527997" cy="554378"/>
          </a:xfrm>
          <a:prstGeom prst="rect">
            <a:avLst/>
          </a:prstGeom>
          <a:noFill/>
          <a:ln>
            <a:noFill/>
          </a:ln>
        </p:spPr>
      </p:pic>
      <p:pic>
        <p:nvPicPr>
          <p:cNvPr id="32" name="Picture 2" descr="Diploma with solid fill">
            <a:hlinkClick r:id="rId6" tooltip="group"/>
          </p:cNvPr>
          <p:cNvPicPr>
            <a:picLocks noChangeAspect="1" noChangeArrowheads="1"/>
          </p:cNvPicPr>
          <p:nvPr/>
        </p:nvPicPr>
        <p:blipFill>
          <a:blip r:embed="rId7">
            <a:extLst>
              <a:ext uri="{96DAC541-7B7A-43D3-8B79-37D633B846F1}">
                <asvg:svgBlip xmlns:asvg="http://schemas.microsoft.com/office/drawing/2016/SVG/main" r:embed="rId8"/>
              </a:ext>
            </a:extLst>
          </a:blip>
          <a:srcRect/>
          <a:stretch/>
        </p:blipFill>
        <p:spPr bwMode="auto">
          <a:xfrm>
            <a:off x="5119198" y="1317639"/>
            <a:ext cx="720544" cy="720544"/>
          </a:xfrm>
          <a:prstGeom prst="rect">
            <a:avLst/>
          </a:prstGeom>
          <a:noFill/>
          <a:ln>
            <a:noFill/>
          </a:ln>
        </p:spPr>
      </p:pic>
      <p:pic>
        <p:nvPicPr>
          <p:cNvPr id="33" name="Picture 6" descr="https://d30y9cdsu7xlg0.cloudfront.net/png/384802-200.png">
            <a:hlinkClick r:id="rId9" tooltip="Shield"/>
          </p:cNvPr>
          <p:cNvPicPr>
            <a:picLocks noChangeAspect="1" noChangeArrowheads="1"/>
          </p:cNvPicPr>
          <p:nvPr/>
        </p:nvPicPr>
        <p:blipFill>
          <a:blip r:embed="rId10" cstate="print">
            <a:lum bright="100000"/>
            <a:duotone>
              <a:schemeClr val="bg2">
                <a:shade val="45000"/>
                <a:satMod val="135000"/>
              </a:schemeClr>
              <a:prstClr val="white"/>
            </a:duotone>
          </a:blip>
          <a:srcRect/>
          <a:stretch>
            <a:fillRect/>
          </a:stretch>
        </p:blipFill>
        <p:spPr bwMode="auto">
          <a:xfrm>
            <a:off x="9961033" y="1474236"/>
            <a:ext cx="524728" cy="550945"/>
          </a:xfrm>
          <a:prstGeom prst="rect">
            <a:avLst/>
          </a:prstGeom>
          <a:noFill/>
          <a:ln>
            <a:noFill/>
          </a:ln>
        </p:spPr>
      </p:pic>
      <p:sp>
        <p:nvSpPr>
          <p:cNvPr id="10" name="Text Placeholder 2">
            <a:extLst>
              <a:ext uri="{FF2B5EF4-FFF2-40B4-BE49-F238E27FC236}">
                <a16:creationId xmlns:a16="http://schemas.microsoft.com/office/drawing/2014/main" id="{D4379A13-9EE1-C220-4F9B-78B145AE7FA3}"/>
              </a:ext>
            </a:extLst>
          </p:cNvPr>
          <p:cNvSpPr txBox="1">
            <a:spLocks/>
          </p:cNvSpPr>
          <p:nvPr/>
        </p:nvSpPr>
        <p:spPr>
          <a:xfrm>
            <a:off x="644336" y="720252"/>
            <a:ext cx="10440000" cy="381159"/>
          </a:xfrm>
          <a:prstGeom prst="rect">
            <a:avLst/>
          </a:prstGeom>
        </p:spPr>
        <p:txBody>
          <a:bodyPr/>
          <a:lstStyle>
            <a:lvl1pPr marL="0" indent="0" algn="l" rtl="0" eaLnBrk="1" fontAlgn="base" hangingPunct="1">
              <a:spcBef>
                <a:spcPct val="20000"/>
              </a:spcBef>
              <a:spcAft>
                <a:spcPct val="0"/>
              </a:spcAft>
              <a:buClr>
                <a:schemeClr val="tx2"/>
              </a:buClr>
              <a:defRPr sz="1200" b="0" kern="1200" spc="100" baseline="0">
                <a:solidFill>
                  <a:srgbClr val="4C5B68"/>
                </a:solidFill>
                <a:latin typeface="+mn-lt"/>
                <a:ea typeface="+mn-ea"/>
                <a:cs typeface="+mn-cs"/>
              </a:defRPr>
            </a:lvl1pPr>
            <a:lvl2pPr marL="274638" indent="-274638" algn="l" rtl="0" eaLnBrk="1" fontAlgn="base" hangingPunct="1">
              <a:spcBef>
                <a:spcPct val="20000"/>
              </a:spcBef>
              <a:spcAft>
                <a:spcPct val="0"/>
              </a:spcAft>
              <a:buClr>
                <a:srgbClr val="5A2259"/>
              </a:buClr>
              <a:buFont typeface="Wingdings" panose="05000000000000000000" pitchFamily="2" charset="2"/>
              <a:buChar char="§"/>
              <a:tabLst/>
              <a:defRPr sz="1600" kern="1200">
                <a:solidFill>
                  <a:srgbClr val="5A2259"/>
                </a:solidFill>
                <a:latin typeface="Franklin Gothic Medium" panose="020B0603020102020204" pitchFamily="34" charset="0"/>
                <a:ea typeface="+mn-ea"/>
                <a:cs typeface="+mn-cs"/>
              </a:defRPr>
            </a:lvl2pPr>
            <a:lvl3pPr marL="274638" indent="-274638" algn="l" rtl="0" eaLnBrk="1" fontAlgn="base" hangingPunct="1">
              <a:spcBef>
                <a:spcPct val="20000"/>
              </a:spcBef>
              <a:spcAft>
                <a:spcPct val="0"/>
              </a:spcAft>
              <a:buClr>
                <a:schemeClr val="tx2"/>
              </a:buClr>
              <a:buFont typeface="Wingdings" panose="05000000000000000000" pitchFamily="2" charset="2"/>
              <a:buChar char="§"/>
              <a:tabLst/>
              <a:defRPr sz="1600" kern="1200">
                <a:solidFill>
                  <a:srgbClr val="43ABB6"/>
                </a:solidFill>
                <a:latin typeface="Franklin Gothic Medium" panose="020B0603020102020204" pitchFamily="34" charset="0"/>
                <a:ea typeface="+mn-ea"/>
                <a:cs typeface="+mn-cs"/>
              </a:defRPr>
            </a:lvl3pPr>
            <a:lvl4pPr marL="274638" indent="-265113" algn="l" rtl="0" eaLnBrk="1" fontAlgn="base" hangingPunct="1">
              <a:spcBef>
                <a:spcPct val="20000"/>
              </a:spcBef>
              <a:spcAft>
                <a:spcPct val="0"/>
              </a:spcAft>
              <a:buClr>
                <a:srgbClr val="E93F47"/>
              </a:buClr>
              <a:buFont typeface="Wingdings" panose="05000000000000000000" pitchFamily="2" charset="2"/>
              <a:buChar char="§"/>
              <a:tabLst/>
              <a:defRPr sz="1600" kern="1200">
                <a:solidFill>
                  <a:srgbClr val="D3553F"/>
                </a:solidFill>
                <a:latin typeface="Franklin Gothic Medium" panose="020B0603020102020204" pitchFamily="34" charset="0"/>
                <a:ea typeface="+mn-ea"/>
                <a:cs typeface="+mn-cs"/>
              </a:defRPr>
            </a:lvl4pPr>
            <a:lvl5pPr marL="274638" indent="-265113" algn="l" rtl="0" eaLnBrk="1" fontAlgn="base" hangingPunct="1">
              <a:spcBef>
                <a:spcPct val="20000"/>
              </a:spcBef>
              <a:spcAft>
                <a:spcPct val="0"/>
              </a:spcAft>
              <a:buClr>
                <a:srgbClr val="8C9EAB"/>
              </a:buClr>
              <a:buFont typeface="Wingdings" panose="05000000000000000000" pitchFamily="2" charset="2"/>
              <a:buChar char="§"/>
              <a:tabLst/>
              <a:defRPr sz="1600" kern="1200">
                <a:solidFill>
                  <a:srgbClr val="8C9EAB"/>
                </a:solidFill>
                <a:latin typeface="Franklin Gothic Medium" panose="020B06030201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vi-VN" sz="2000" b="1" cap="all" spc="300" dirty="0">
                <a:solidFill>
                  <a:srgbClr val="5A2259"/>
                </a:solidFill>
                <a:latin typeface="Noto Sans Hanunoo" panose="020B0502040504020204" pitchFamily="34" charset="0"/>
              </a:rPr>
              <a:t>MỘT SỐ dự án lao (ĐÃ KẾT THÚC)</a:t>
            </a:r>
          </a:p>
        </p:txBody>
      </p:sp>
      <p:sp>
        <p:nvSpPr>
          <p:cNvPr id="16" name="Title 1">
            <a:extLst>
              <a:ext uri="{FF2B5EF4-FFF2-40B4-BE49-F238E27FC236}">
                <a16:creationId xmlns:a16="http://schemas.microsoft.com/office/drawing/2014/main" id="{30F42FAC-0241-D17A-F535-C2FAE99E09F5}"/>
              </a:ext>
            </a:extLst>
          </p:cNvPr>
          <p:cNvSpPr>
            <a:spLocks noGrp="1"/>
          </p:cNvSpPr>
          <p:nvPr>
            <p:ph type="title"/>
          </p:nvPr>
        </p:nvSpPr>
        <p:spPr>
          <a:xfrm>
            <a:off x="644336" y="442497"/>
            <a:ext cx="9360000" cy="308122"/>
          </a:xfrm>
        </p:spPr>
        <p:txBody>
          <a:bodyPr/>
          <a:lstStyle/>
          <a:p>
            <a:r>
              <a:rPr lang="vi-VN" sz="1600" b="1" dirty="0"/>
              <a:t>Chương trình quốc gia của find tại viet nam</a:t>
            </a:r>
            <a:endParaRPr lang="vi-VN" dirty="0"/>
          </a:p>
        </p:txBody>
      </p:sp>
      <p:pic>
        <p:nvPicPr>
          <p:cNvPr id="19" name="Picture 6" descr="https://d30y9cdsu7xlg0.cloudfront.net/png/384802-200.png">
            <a:hlinkClick r:id="rId9" tooltip="Shield"/>
            <a:extLst>
              <a:ext uri="{FF2B5EF4-FFF2-40B4-BE49-F238E27FC236}">
                <a16:creationId xmlns:a16="http://schemas.microsoft.com/office/drawing/2014/main" id="{9AB4F8F6-615C-6FFD-F3DE-971D479A0A82}"/>
              </a:ext>
            </a:extLst>
          </p:cNvPr>
          <p:cNvPicPr>
            <a:picLocks noChangeAspect="1" noChangeArrowheads="1"/>
          </p:cNvPicPr>
          <p:nvPr/>
        </p:nvPicPr>
        <p:blipFill>
          <a:blip r:embed="rId10" cstate="print">
            <a:lum bright="100000"/>
            <a:duotone>
              <a:schemeClr val="bg2">
                <a:shade val="45000"/>
                <a:satMod val="135000"/>
              </a:schemeClr>
              <a:prstClr val="white"/>
            </a:duotone>
          </a:blip>
          <a:srcRect/>
          <a:stretch>
            <a:fillRect/>
          </a:stretch>
        </p:blipFill>
        <p:spPr bwMode="auto">
          <a:xfrm>
            <a:off x="8625736" y="1474237"/>
            <a:ext cx="524728" cy="550945"/>
          </a:xfrm>
          <a:prstGeom prst="rect">
            <a:avLst/>
          </a:prstGeom>
          <a:noFill/>
          <a:ln>
            <a:noFill/>
          </a:ln>
        </p:spPr>
      </p:pic>
      <p:pic>
        <p:nvPicPr>
          <p:cNvPr id="22" name="Picture 36" descr="Dandelion with solid fill">
            <a:extLst>
              <a:ext uri="{FF2B5EF4-FFF2-40B4-BE49-F238E27FC236}">
                <a16:creationId xmlns:a16="http://schemas.microsoft.com/office/drawing/2014/main" id="{F72D684B-2ADF-3FC1-7072-2F8A769D4B9A}"/>
              </a:ext>
            </a:extLst>
          </p:cNvPr>
          <p:cNvPicPr>
            <a:picLocks noChangeAspect="1" noChangeArrowheads="1"/>
          </p:cNvPicPr>
          <p:nvPr/>
        </p:nvPicPr>
        <p:blipFill>
          <a:blip r:embed="rId11">
            <a:extLst>
              <a:ext uri="{96DAC541-7B7A-43D3-8B79-37D633B846F1}">
                <asvg:svgBlip xmlns:asvg="http://schemas.microsoft.com/office/drawing/2016/SVG/main" r:embed="rId12"/>
              </a:ext>
            </a:extLst>
          </a:blip>
          <a:srcRect/>
          <a:stretch/>
        </p:blipFill>
        <p:spPr bwMode="auto">
          <a:xfrm rot="2449967">
            <a:off x="10795325" y="1525395"/>
            <a:ext cx="665396" cy="665396"/>
          </a:xfrm>
          <a:prstGeom prst="rect">
            <a:avLst/>
          </a:prstGeom>
          <a:noFill/>
          <a:ln>
            <a:noFill/>
          </a:ln>
        </p:spPr>
      </p:pic>
      <p:pic>
        <p:nvPicPr>
          <p:cNvPr id="24" name="Picture 6" descr="https://d30y9cdsu7xlg0.cloudfront.net/png/384802-200.png">
            <a:hlinkClick r:id="rId9" tooltip="Shield"/>
            <a:extLst>
              <a:ext uri="{FF2B5EF4-FFF2-40B4-BE49-F238E27FC236}">
                <a16:creationId xmlns:a16="http://schemas.microsoft.com/office/drawing/2014/main" id="{FCE60BA3-870A-8DAA-E34C-9FE25B5430C1}"/>
              </a:ext>
            </a:extLst>
          </p:cNvPr>
          <p:cNvPicPr>
            <a:picLocks noChangeAspect="1" noChangeArrowheads="1"/>
          </p:cNvPicPr>
          <p:nvPr/>
        </p:nvPicPr>
        <p:blipFill>
          <a:blip r:embed="rId10" cstate="print">
            <a:lum bright="100000"/>
            <a:duotone>
              <a:schemeClr val="bg2">
                <a:shade val="45000"/>
                <a:satMod val="135000"/>
              </a:schemeClr>
              <a:prstClr val="white"/>
            </a:duotone>
          </a:blip>
          <a:srcRect/>
          <a:stretch>
            <a:fillRect/>
          </a:stretch>
        </p:blipFill>
        <p:spPr bwMode="auto">
          <a:xfrm>
            <a:off x="2099751" y="1474238"/>
            <a:ext cx="524728" cy="550945"/>
          </a:xfrm>
          <a:prstGeom prst="rect">
            <a:avLst/>
          </a:prstGeom>
          <a:noFill/>
          <a:ln>
            <a:noFill/>
          </a:ln>
        </p:spPr>
      </p:pic>
    </p:spTree>
    <p:extLst>
      <p:ext uri="{BB962C8B-B14F-4D97-AF65-F5344CB8AC3E}">
        <p14:creationId xmlns:p14="http://schemas.microsoft.com/office/powerpoint/2010/main" val="7434443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3340992" y="3429000"/>
            <a:ext cx="2855934"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Cung cấp thông tin quan trọng giúp thiết kế các sản phẩm chẩn đoán và các vật liệu đi kèm khi triển khai áp dụng các công nghệ chẩn đoán lao mới.</a:t>
            </a:r>
          </a:p>
        </p:txBody>
      </p:sp>
      <p:sp>
        <p:nvSpPr>
          <p:cNvPr id="12" name="Rectangle 11"/>
          <p:cNvSpPr/>
          <p:nvPr/>
        </p:nvSpPr>
        <p:spPr>
          <a:xfrm>
            <a:off x="349466" y="3429000"/>
            <a:ext cx="2855934"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buClr>
                <a:srgbClr val="43ABB6"/>
              </a:buClr>
              <a:buSzPct val="100000"/>
              <a:buFont typeface="Arial" panose="020B0604020202020204" pitchFamily="34" charset="0"/>
              <a:buChar char="•"/>
            </a:pPr>
            <a:r>
              <a:rPr lang="vi-VN" sz="1600" dirty="0">
                <a:solidFill>
                  <a:schemeClr val="accent6">
                    <a:lumMod val="50000"/>
                  </a:schemeClr>
                </a:solidFill>
                <a:latin typeface="Calibri" panose="020F0502020204030204" pitchFamily="34" charset="0"/>
                <a:cs typeface="Calibri" panose="020F0502020204030204" pitchFamily="34" charset="0"/>
                <a:sym typeface="Trebuchet MS" panose="020B0603020202020204" pitchFamily="34" charset="0"/>
              </a:rPr>
              <a:t>Dựa trên mô hình hoá mạng không gian của hệ thống XN và chuyển gửi mẫu, xây dựng mô hình tối ưu hoá mạng lưới</a:t>
            </a:r>
          </a:p>
          <a:p>
            <a:pPr marL="247657" lvl="1" indent="-165593">
              <a:spcBef>
                <a:spcPts val="600"/>
              </a:spcBef>
              <a:buClr>
                <a:srgbClr val="43ABB6"/>
              </a:buClr>
              <a:buSzPct val="100000"/>
              <a:buFont typeface="Arial" panose="020B0604020202020204" pitchFamily="34" charset="0"/>
              <a:buChar char="•"/>
            </a:pPr>
            <a:r>
              <a:rPr lang="vi-VN" sz="1600" dirty="0">
                <a:solidFill>
                  <a:schemeClr val="accent6">
                    <a:lumMod val="50000"/>
                  </a:schemeClr>
                </a:solidFill>
                <a:latin typeface="Calibri" panose="020F0502020204030204" pitchFamily="34" charset="0"/>
                <a:cs typeface="Calibri" panose="020F0502020204030204" pitchFamily="34" charset="0"/>
              </a:rPr>
              <a:t>Hỗ trợ xây dựng KHCLQG (NSP) &amp; thực hiện hoạt động của CT được tài trợ bởi GF 2024-2026.</a:t>
            </a:r>
          </a:p>
        </p:txBody>
      </p:sp>
      <p:sp>
        <p:nvSpPr>
          <p:cNvPr id="15" name="Rectangle 14"/>
          <p:cNvSpPr/>
          <p:nvPr/>
        </p:nvSpPr>
        <p:spPr>
          <a:xfrm>
            <a:off x="6332518" y="3429000"/>
            <a:ext cx="2855934"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Hỗ trợ triển khai thử nghiệm ở giai đoạn sớm trong chương trình thử nghiệm nhiều chu kỳ đối với các công nghệ chẩn đoán lao và lao KT mới -&gt; rút ngắn thời gian đưa sản phẩm mới, tiềm năng vào áp dụng</a:t>
            </a:r>
          </a:p>
        </p:txBody>
      </p:sp>
      <p:grpSp>
        <p:nvGrpSpPr>
          <p:cNvPr id="20" name="Group 19">
            <a:extLst>
              <a:ext uri="{FF2B5EF4-FFF2-40B4-BE49-F238E27FC236}">
                <a16:creationId xmlns:a16="http://schemas.microsoft.com/office/drawing/2014/main" id="{9FEA4E4D-762C-C695-2BE7-BCD929939FF2}"/>
              </a:ext>
            </a:extLst>
          </p:cNvPr>
          <p:cNvGrpSpPr/>
          <p:nvPr/>
        </p:nvGrpSpPr>
        <p:grpSpPr>
          <a:xfrm>
            <a:off x="6761685" y="1423659"/>
            <a:ext cx="1920944" cy="1861691"/>
            <a:chOff x="6761685" y="1423659"/>
            <a:chExt cx="1920944" cy="1861691"/>
          </a:xfrm>
        </p:grpSpPr>
        <p:sp>
          <p:nvSpPr>
            <p:cNvPr id="8" name="Rounded Rectangle 7"/>
            <p:cNvSpPr/>
            <p:nvPr/>
          </p:nvSpPr>
          <p:spPr>
            <a:xfrm>
              <a:off x="6761685" y="1474238"/>
              <a:ext cx="1920944" cy="1811112"/>
            </a:xfrm>
            <a:prstGeom prst="roundRect">
              <a:avLst/>
            </a:prstGeom>
            <a:solidFill>
              <a:schemeClr val="accent2">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lang="vi-VN" sz="1600" b="1" dirty="0">
                  <a:latin typeface="Calibri" panose="020F0502020204030204" pitchFamily="34" charset="0"/>
                  <a:cs typeface="Calibri" panose="020F0502020204030204" pitchFamily="34" charset="0"/>
                </a:rPr>
                <a:t>Đánh giá độ chính xác các XN chẩn đoán TB và MDR-TB mới (FEND)</a:t>
              </a:r>
              <a:endParaRPr lang="vi-VN" sz="1600" b="1" dirty="0">
                <a:solidFill>
                  <a:schemeClr val="bg1"/>
                </a:solidFill>
                <a:latin typeface="Calibri" panose="020F0502020204030204" pitchFamily="34" charset="0"/>
                <a:cs typeface="Calibri" panose="020F0502020204030204" pitchFamily="34" charset="0"/>
              </a:endParaRPr>
            </a:p>
          </p:txBody>
        </p:sp>
        <p:pic>
          <p:nvPicPr>
            <p:cNvPr id="30" name="Picture 36" descr="https://d30y9cdsu7xlg0.cloudfront.net/png/2171-200.png"/>
            <p:cNvPicPr>
              <a:picLocks noChangeAspect="1" noChangeArrowheads="1"/>
            </p:cNvPicPr>
            <p:nvPr/>
          </p:nvPicPr>
          <p:blipFill>
            <a:blip r:embed="rId3" cstate="print">
              <a:lum bright="100000"/>
              <a:duotone>
                <a:schemeClr val="bg2">
                  <a:shade val="45000"/>
                  <a:satMod val="135000"/>
                </a:schemeClr>
                <a:prstClr val="white"/>
              </a:duotone>
            </a:blip>
            <a:srcRect/>
            <a:stretch>
              <a:fillRect/>
            </a:stretch>
          </p:blipFill>
          <p:spPr bwMode="auto">
            <a:xfrm>
              <a:off x="7361238" y="1423659"/>
              <a:ext cx="665396" cy="698641"/>
            </a:xfrm>
            <a:prstGeom prst="rect">
              <a:avLst/>
            </a:prstGeom>
            <a:noFill/>
            <a:ln>
              <a:noFill/>
            </a:ln>
          </p:spPr>
        </p:pic>
      </p:grpSp>
      <p:grpSp>
        <p:nvGrpSpPr>
          <p:cNvPr id="3" name="Group 2">
            <a:extLst>
              <a:ext uri="{FF2B5EF4-FFF2-40B4-BE49-F238E27FC236}">
                <a16:creationId xmlns:a16="http://schemas.microsoft.com/office/drawing/2014/main" id="{731771AC-4CE8-0634-2168-A5E2CC91C183}"/>
              </a:ext>
            </a:extLst>
          </p:cNvPr>
          <p:cNvGrpSpPr/>
          <p:nvPr/>
        </p:nvGrpSpPr>
        <p:grpSpPr>
          <a:xfrm>
            <a:off x="697171" y="1430476"/>
            <a:ext cx="1920944" cy="1854874"/>
            <a:chOff x="697171" y="1430476"/>
            <a:chExt cx="1920944" cy="1854874"/>
          </a:xfrm>
        </p:grpSpPr>
        <p:sp>
          <p:nvSpPr>
            <p:cNvPr id="4" name="Rounded Rectangle 3"/>
            <p:cNvSpPr/>
            <p:nvPr/>
          </p:nvSpPr>
          <p:spPr>
            <a:xfrm>
              <a:off x="697171" y="1474238"/>
              <a:ext cx="1920944" cy="1811112"/>
            </a:xfrm>
            <a:prstGeom prst="roundRect">
              <a:avLst/>
            </a:prstGeom>
            <a:solidFill>
              <a:schemeClr val="accent2">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kumimoji="0" lang="vi-VN" sz="16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Trebuchet MS" panose="020B0603020202020204" pitchFamily="34" charset="0"/>
                </a:rPr>
                <a:t>Tối ưu hoá mạng lưới chẩn đoán lao (TB DNO)</a:t>
              </a:r>
              <a:endParaRPr lang="vi-VN" sz="1600" b="1" dirty="0">
                <a:latin typeface="Calibri" panose="020F0502020204030204" pitchFamily="34" charset="0"/>
                <a:cs typeface="Calibri" panose="020F0502020204030204" pitchFamily="34" charset="0"/>
              </a:endParaRPr>
            </a:p>
            <a:p>
              <a:pPr algn="ctr"/>
              <a:endParaRPr lang="vi-VN" sz="1600" b="1" dirty="0">
                <a:solidFill>
                  <a:schemeClr val="bg1"/>
                </a:solidFill>
                <a:latin typeface="Calibri" panose="020F0502020204030204" pitchFamily="34" charset="0"/>
                <a:cs typeface="Calibri" panose="020F0502020204030204" pitchFamily="34" charset="0"/>
              </a:endParaRPr>
            </a:p>
          </p:txBody>
        </p:sp>
        <p:pic>
          <p:nvPicPr>
            <p:cNvPr id="31" name="Picture 4" descr="https://d30y9cdsu7xlg0.cloudfront.net/png/4195-200.png">
              <a:hlinkClick r:id="rId4" tooltip="cycle"/>
            </p:cNvPr>
            <p:cNvPicPr>
              <a:picLocks noChangeAspect="1" noChangeArrowheads="1"/>
            </p:cNvPicPr>
            <p:nvPr/>
          </p:nvPicPr>
          <p:blipFill>
            <a:blip r:embed="rId5" cstate="print">
              <a:lum bright="100000"/>
              <a:duotone>
                <a:schemeClr val="bg2">
                  <a:shade val="45000"/>
                  <a:satMod val="135000"/>
                </a:schemeClr>
                <a:prstClr val="white"/>
              </a:duotone>
            </a:blip>
            <a:srcRect/>
            <a:stretch>
              <a:fillRect/>
            </a:stretch>
          </p:blipFill>
          <p:spPr bwMode="auto">
            <a:xfrm>
              <a:off x="1369574" y="1430476"/>
              <a:ext cx="527997" cy="554378"/>
            </a:xfrm>
            <a:prstGeom prst="rect">
              <a:avLst/>
            </a:prstGeom>
            <a:noFill/>
            <a:ln>
              <a:noFill/>
            </a:ln>
          </p:spPr>
        </p:pic>
      </p:grpSp>
      <p:pic>
        <p:nvPicPr>
          <p:cNvPr id="32" name="Picture 2" descr="https://d30y9cdsu7xlg0.cloudfront.net/png/253254-200.png">
            <a:hlinkClick r:id="rId6" tooltip="group"/>
          </p:cNvPr>
          <p:cNvPicPr>
            <a:picLocks noChangeAspect="1" noChangeArrowheads="1"/>
          </p:cNvPicPr>
          <p:nvPr/>
        </p:nvPicPr>
        <p:blipFill>
          <a:blip r:embed="rId7" cstate="print">
            <a:lum bright="100000"/>
            <a:duotone>
              <a:schemeClr val="bg2">
                <a:shade val="45000"/>
                <a:satMod val="135000"/>
              </a:schemeClr>
              <a:prstClr val="white"/>
            </a:duotone>
          </a:blip>
          <a:srcRect/>
          <a:stretch>
            <a:fillRect/>
          </a:stretch>
        </p:blipFill>
        <p:spPr bwMode="auto">
          <a:xfrm>
            <a:off x="2561278" y="1270241"/>
            <a:ext cx="720544" cy="756546"/>
          </a:xfrm>
          <a:prstGeom prst="rect">
            <a:avLst/>
          </a:prstGeom>
          <a:noFill/>
          <a:ln>
            <a:noFill/>
          </a:ln>
        </p:spPr>
      </p:pic>
      <p:pic>
        <p:nvPicPr>
          <p:cNvPr id="33" name="Picture 6" descr="https://d30y9cdsu7xlg0.cloudfront.net/png/384802-200.png">
            <a:hlinkClick r:id="rId8" tooltip="Shield"/>
          </p:cNvPr>
          <p:cNvPicPr>
            <a:picLocks noChangeAspect="1" noChangeArrowheads="1"/>
          </p:cNvPicPr>
          <p:nvPr/>
        </p:nvPicPr>
        <p:blipFill>
          <a:blip r:embed="rId9" cstate="print">
            <a:lum bright="100000"/>
            <a:duotone>
              <a:schemeClr val="bg2">
                <a:shade val="45000"/>
                <a:satMod val="135000"/>
              </a:schemeClr>
              <a:prstClr val="white"/>
            </a:duotone>
          </a:blip>
          <a:srcRect/>
          <a:stretch>
            <a:fillRect/>
          </a:stretch>
        </p:blipFill>
        <p:spPr bwMode="auto">
          <a:xfrm>
            <a:off x="9902363" y="1433909"/>
            <a:ext cx="524728" cy="550945"/>
          </a:xfrm>
          <a:prstGeom prst="rect">
            <a:avLst/>
          </a:prstGeom>
          <a:noFill/>
          <a:ln>
            <a:noFill/>
          </a:ln>
        </p:spPr>
      </p:pic>
      <p:grpSp>
        <p:nvGrpSpPr>
          <p:cNvPr id="9" name="Group 8">
            <a:extLst>
              <a:ext uri="{FF2B5EF4-FFF2-40B4-BE49-F238E27FC236}">
                <a16:creationId xmlns:a16="http://schemas.microsoft.com/office/drawing/2014/main" id="{F6FD8890-525B-F919-CDF2-ED1917CA7BED}"/>
              </a:ext>
            </a:extLst>
          </p:cNvPr>
          <p:cNvGrpSpPr/>
          <p:nvPr/>
        </p:nvGrpSpPr>
        <p:grpSpPr>
          <a:xfrm>
            <a:off x="3694497" y="1388830"/>
            <a:ext cx="1920944" cy="1896520"/>
            <a:chOff x="3694497" y="1388830"/>
            <a:chExt cx="1920944" cy="1896520"/>
          </a:xfrm>
        </p:grpSpPr>
        <p:sp>
          <p:nvSpPr>
            <p:cNvPr id="5" name="Rounded Rectangle 4"/>
            <p:cNvSpPr/>
            <p:nvPr/>
          </p:nvSpPr>
          <p:spPr>
            <a:xfrm>
              <a:off x="3694497" y="1474238"/>
              <a:ext cx="1920944" cy="1811112"/>
            </a:xfrm>
            <a:prstGeom prst="roundRect">
              <a:avLst/>
            </a:prstGeom>
            <a:solidFill>
              <a:schemeClr val="accent2">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lang="vi-VN" sz="1600" b="1" dirty="0">
                  <a:latin typeface="Calibri" panose="020F0502020204030204" pitchFamily="34" charset="0"/>
                  <a:cs typeface="Calibri" panose="020F0502020204030204" pitchFamily="34" charset="0"/>
                </a:rPr>
                <a:t>Kiến thức, thái độ người  sử dụng cuối đối với XN POC và mẫu BP lao mới </a:t>
              </a:r>
            </a:p>
          </p:txBody>
        </p:sp>
        <p:pic>
          <p:nvPicPr>
            <p:cNvPr id="34" name="Picture 4" descr="https://d30y9cdsu7xlg0.cloudfront.net/png/534532-200.png">
              <a:hlinkClick r:id="rId10" tooltip="Checklist"/>
            </p:cNvPr>
            <p:cNvPicPr>
              <a:picLocks noChangeAspect="1" noChangeArrowheads="1"/>
            </p:cNvPicPr>
            <p:nvPr/>
          </p:nvPicPr>
          <p:blipFill>
            <a:blip r:embed="rId11" cstate="print">
              <a:lum bright="100000"/>
              <a:duotone>
                <a:schemeClr val="bg2">
                  <a:shade val="45000"/>
                  <a:satMod val="135000"/>
                </a:schemeClr>
                <a:prstClr val="white"/>
              </a:duotone>
            </a:blip>
            <a:srcRect/>
            <a:stretch>
              <a:fillRect/>
            </a:stretch>
          </p:blipFill>
          <p:spPr bwMode="auto">
            <a:xfrm>
              <a:off x="4466177" y="1388830"/>
              <a:ext cx="437368" cy="478929"/>
            </a:xfrm>
            <a:prstGeom prst="rect">
              <a:avLst/>
            </a:prstGeom>
            <a:noFill/>
            <a:ln>
              <a:noFill/>
            </a:ln>
          </p:spPr>
        </p:pic>
      </p:grpSp>
      <p:sp>
        <p:nvSpPr>
          <p:cNvPr id="10" name="Text Placeholder 2">
            <a:extLst>
              <a:ext uri="{FF2B5EF4-FFF2-40B4-BE49-F238E27FC236}">
                <a16:creationId xmlns:a16="http://schemas.microsoft.com/office/drawing/2014/main" id="{D4379A13-9EE1-C220-4F9B-78B145AE7FA3}"/>
              </a:ext>
            </a:extLst>
          </p:cNvPr>
          <p:cNvSpPr txBox="1">
            <a:spLocks/>
          </p:cNvSpPr>
          <p:nvPr/>
        </p:nvSpPr>
        <p:spPr>
          <a:xfrm>
            <a:off x="644336" y="720252"/>
            <a:ext cx="10440000" cy="381159"/>
          </a:xfrm>
          <a:prstGeom prst="rect">
            <a:avLst/>
          </a:prstGeom>
        </p:spPr>
        <p:txBody>
          <a:bodyPr/>
          <a:lstStyle>
            <a:lvl1pPr marL="0" indent="0" algn="l" rtl="0" eaLnBrk="1" fontAlgn="base" hangingPunct="1">
              <a:spcBef>
                <a:spcPct val="20000"/>
              </a:spcBef>
              <a:spcAft>
                <a:spcPct val="0"/>
              </a:spcAft>
              <a:buClr>
                <a:schemeClr val="tx2"/>
              </a:buClr>
              <a:defRPr sz="1200" b="0" kern="1200" spc="100" baseline="0">
                <a:solidFill>
                  <a:srgbClr val="4C5B68"/>
                </a:solidFill>
                <a:latin typeface="+mn-lt"/>
                <a:ea typeface="+mn-ea"/>
                <a:cs typeface="+mn-cs"/>
              </a:defRPr>
            </a:lvl1pPr>
            <a:lvl2pPr marL="274638" indent="-274638" algn="l" rtl="0" eaLnBrk="1" fontAlgn="base" hangingPunct="1">
              <a:spcBef>
                <a:spcPct val="20000"/>
              </a:spcBef>
              <a:spcAft>
                <a:spcPct val="0"/>
              </a:spcAft>
              <a:buClr>
                <a:srgbClr val="5A2259"/>
              </a:buClr>
              <a:buFont typeface="Wingdings" panose="05000000000000000000" pitchFamily="2" charset="2"/>
              <a:buChar char="§"/>
              <a:tabLst/>
              <a:defRPr sz="1600" kern="1200">
                <a:solidFill>
                  <a:srgbClr val="5A2259"/>
                </a:solidFill>
                <a:latin typeface="Franklin Gothic Medium" panose="020B0603020102020204" pitchFamily="34" charset="0"/>
                <a:ea typeface="+mn-ea"/>
                <a:cs typeface="+mn-cs"/>
              </a:defRPr>
            </a:lvl2pPr>
            <a:lvl3pPr marL="274638" indent="-274638" algn="l" rtl="0" eaLnBrk="1" fontAlgn="base" hangingPunct="1">
              <a:spcBef>
                <a:spcPct val="20000"/>
              </a:spcBef>
              <a:spcAft>
                <a:spcPct val="0"/>
              </a:spcAft>
              <a:buClr>
                <a:schemeClr val="tx2"/>
              </a:buClr>
              <a:buFont typeface="Wingdings" panose="05000000000000000000" pitchFamily="2" charset="2"/>
              <a:buChar char="§"/>
              <a:tabLst/>
              <a:defRPr sz="1600" kern="1200">
                <a:solidFill>
                  <a:srgbClr val="43ABB6"/>
                </a:solidFill>
                <a:latin typeface="Franklin Gothic Medium" panose="020B0603020102020204" pitchFamily="34" charset="0"/>
                <a:ea typeface="+mn-ea"/>
                <a:cs typeface="+mn-cs"/>
              </a:defRPr>
            </a:lvl3pPr>
            <a:lvl4pPr marL="274638" indent="-265113" algn="l" rtl="0" eaLnBrk="1" fontAlgn="base" hangingPunct="1">
              <a:spcBef>
                <a:spcPct val="20000"/>
              </a:spcBef>
              <a:spcAft>
                <a:spcPct val="0"/>
              </a:spcAft>
              <a:buClr>
                <a:srgbClr val="E93F47"/>
              </a:buClr>
              <a:buFont typeface="Wingdings" panose="05000000000000000000" pitchFamily="2" charset="2"/>
              <a:buChar char="§"/>
              <a:tabLst/>
              <a:defRPr sz="1600" kern="1200">
                <a:solidFill>
                  <a:srgbClr val="D3553F"/>
                </a:solidFill>
                <a:latin typeface="Franklin Gothic Medium" panose="020B0603020102020204" pitchFamily="34" charset="0"/>
                <a:ea typeface="+mn-ea"/>
                <a:cs typeface="+mn-cs"/>
              </a:defRPr>
            </a:lvl4pPr>
            <a:lvl5pPr marL="274638" indent="-265113" algn="l" rtl="0" eaLnBrk="1" fontAlgn="base" hangingPunct="1">
              <a:spcBef>
                <a:spcPct val="20000"/>
              </a:spcBef>
              <a:spcAft>
                <a:spcPct val="0"/>
              </a:spcAft>
              <a:buClr>
                <a:srgbClr val="8C9EAB"/>
              </a:buClr>
              <a:buFont typeface="Wingdings" panose="05000000000000000000" pitchFamily="2" charset="2"/>
              <a:buChar char="§"/>
              <a:tabLst/>
              <a:defRPr sz="1600" kern="1200">
                <a:solidFill>
                  <a:srgbClr val="8C9EAB"/>
                </a:solidFill>
                <a:latin typeface="Franklin Gothic Medium" panose="020B06030201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vi-VN" sz="2000" b="1" cap="all" spc="300" dirty="0">
                <a:solidFill>
                  <a:srgbClr val="5A2259"/>
                </a:solidFill>
                <a:latin typeface="Calibri" panose="020F0502020204030204" pitchFamily="34" charset="0"/>
                <a:cs typeface="Calibri" panose="020F0502020204030204" pitchFamily="34" charset="0"/>
              </a:rPr>
              <a:t>CÁC dự án LIÊN QUAN ĐẾN lao(2022-2023)</a:t>
            </a:r>
          </a:p>
        </p:txBody>
      </p:sp>
      <p:sp>
        <p:nvSpPr>
          <p:cNvPr id="16" name="Title 1">
            <a:extLst>
              <a:ext uri="{FF2B5EF4-FFF2-40B4-BE49-F238E27FC236}">
                <a16:creationId xmlns:a16="http://schemas.microsoft.com/office/drawing/2014/main" id="{30F42FAC-0241-D17A-F535-C2FAE99E09F5}"/>
              </a:ext>
            </a:extLst>
          </p:cNvPr>
          <p:cNvSpPr>
            <a:spLocks noGrp="1"/>
          </p:cNvSpPr>
          <p:nvPr>
            <p:ph type="title"/>
          </p:nvPr>
        </p:nvSpPr>
        <p:spPr>
          <a:xfrm>
            <a:off x="644336" y="442497"/>
            <a:ext cx="9360000" cy="308122"/>
          </a:xfrm>
        </p:spPr>
        <p:txBody>
          <a:bodyPr/>
          <a:lstStyle/>
          <a:p>
            <a:r>
              <a:rPr lang="vi-VN" sz="1600" b="1" dirty="0">
                <a:latin typeface="Calibri" panose="020F0502020204030204" pitchFamily="34" charset="0"/>
                <a:cs typeface="Calibri" panose="020F0502020204030204" pitchFamily="34" charset="0"/>
              </a:rPr>
              <a:t>Chương trình quốc gia của find tại viet nam</a:t>
            </a:r>
            <a:endParaRPr lang="vi-VN" dirty="0">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695DA74F-F85A-1F7F-BA23-7B8845AA14E6}"/>
              </a:ext>
            </a:extLst>
          </p:cNvPr>
          <p:cNvSpPr/>
          <p:nvPr/>
        </p:nvSpPr>
        <p:spPr>
          <a:xfrm>
            <a:off x="9336067" y="3443614"/>
            <a:ext cx="2855933"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spcBef>
                <a:spcPts val="600"/>
              </a:spcBef>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Hỗ trợ nâng cao năng lực giải trình tự SARS-CoV-2</a:t>
            </a:r>
          </a:p>
          <a:p>
            <a:pPr marL="247657" lvl="1" indent="-165593">
              <a:spcBef>
                <a:spcPts val="600"/>
              </a:spcBef>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Đánh giá năng lực quốc gia về NGS cho lao KT</a:t>
            </a:r>
          </a:p>
          <a:p>
            <a:pPr marL="247657" lvl="1" indent="-165593">
              <a:spcBef>
                <a:spcPts val="600"/>
              </a:spcBef>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Tiến hành thí điểm NGS để chẩn đoán lao KT </a:t>
            </a:r>
          </a:p>
        </p:txBody>
      </p:sp>
      <p:pic>
        <p:nvPicPr>
          <p:cNvPr id="19" name="Picture 6" descr="https://d30y9cdsu7xlg0.cloudfront.net/png/384802-200.png">
            <a:hlinkClick r:id="rId8" tooltip="Shield"/>
            <a:extLst>
              <a:ext uri="{FF2B5EF4-FFF2-40B4-BE49-F238E27FC236}">
                <a16:creationId xmlns:a16="http://schemas.microsoft.com/office/drawing/2014/main" id="{9AB4F8F6-615C-6FFD-F3DE-971D479A0A82}"/>
              </a:ext>
            </a:extLst>
          </p:cNvPr>
          <p:cNvPicPr>
            <a:picLocks noChangeAspect="1" noChangeArrowheads="1"/>
          </p:cNvPicPr>
          <p:nvPr/>
        </p:nvPicPr>
        <p:blipFill>
          <a:blip r:embed="rId9" cstate="print">
            <a:lum bright="100000"/>
            <a:duotone>
              <a:schemeClr val="bg2">
                <a:shade val="45000"/>
                <a:satMod val="135000"/>
              </a:schemeClr>
              <a:prstClr val="white"/>
            </a:duotone>
          </a:blip>
          <a:srcRect/>
          <a:stretch>
            <a:fillRect/>
          </a:stretch>
        </p:blipFill>
        <p:spPr bwMode="auto">
          <a:xfrm>
            <a:off x="8800077" y="1395024"/>
            <a:ext cx="524728" cy="550945"/>
          </a:xfrm>
          <a:prstGeom prst="rect">
            <a:avLst/>
          </a:prstGeom>
          <a:noFill/>
          <a:ln>
            <a:noFill/>
          </a:ln>
        </p:spPr>
      </p:pic>
      <p:grpSp>
        <p:nvGrpSpPr>
          <p:cNvPr id="21" name="Group 20">
            <a:extLst>
              <a:ext uri="{FF2B5EF4-FFF2-40B4-BE49-F238E27FC236}">
                <a16:creationId xmlns:a16="http://schemas.microsoft.com/office/drawing/2014/main" id="{3DE34647-D5ED-5E4E-1048-D9EE6FB86180}"/>
              </a:ext>
            </a:extLst>
          </p:cNvPr>
          <p:cNvGrpSpPr/>
          <p:nvPr/>
        </p:nvGrpSpPr>
        <p:grpSpPr>
          <a:xfrm>
            <a:off x="9694857" y="1488852"/>
            <a:ext cx="1920944" cy="1811112"/>
            <a:chOff x="9694857" y="1488852"/>
            <a:chExt cx="1920944" cy="1811112"/>
          </a:xfrm>
        </p:grpSpPr>
        <p:sp>
          <p:nvSpPr>
            <p:cNvPr id="17" name="Rounded Rectangle 16">
              <a:extLst>
                <a:ext uri="{FF2B5EF4-FFF2-40B4-BE49-F238E27FC236}">
                  <a16:creationId xmlns:a16="http://schemas.microsoft.com/office/drawing/2014/main" id="{C74FF1AF-F9B9-7E9D-9599-94E5CF7098C4}"/>
                </a:ext>
              </a:extLst>
            </p:cNvPr>
            <p:cNvSpPr/>
            <p:nvPr/>
          </p:nvSpPr>
          <p:spPr>
            <a:xfrm>
              <a:off x="9694857" y="1488852"/>
              <a:ext cx="1920944" cy="1811112"/>
            </a:xfrm>
            <a:prstGeom prst="roundRect">
              <a:avLst/>
            </a:prstGeom>
            <a:solidFill>
              <a:schemeClr val="accent2">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lang="vi-VN" sz="1600" b="1" dirty="0">
                  <a:latin typeface="Calibri" panose="020F0502020204030204" pitchFamily="34" charset="0"/>
                  <a:cs typeface="Calibri" panose="020F0502020204030204" pitchFamily="34" charset="0"/>
                </a:rPr>
                <a:t>Xây dựng năng lực giải trình tự thế mới</a:t>
              </a:r>
            </a:p>
            <a:p>
              <a:pPr algn="ctr"/>
              <a:endParaRPr lang="vi-VN" sz="1600" b="1" dirty="0">
                <a:solidFill>
                  <a:schemeClr val="bg1"/>
                </a:solidFill>
                <a:latin typeface="Calibri" panose="020F0502020204030204" pitchFamily="34" charset="0"/>
                <a:cs typeface="Calibri" panose="020F0502020204030204" pitchFamily="34" charset="0"/>
              </a:endParaRPr>
            </a:p>
            <a:p>
              <a:pPr algn="ctr"/>
              <a:endParaRPr lang="vi-VN" sz="1600" b="1" dirty="0">
                <a:solidFill>
                  <a:schemeClr val="bg1"/>
                </a:solidFill>
                <a:latin typeface="Calibri" panose="020F0502020204030204" pitchFamily="34" charset="0"/>
                <a:cs typeface="Calibri" panose="020F0502020204030204" pitchFamily="34" charset="0"/>
              </a:endParaRPr>
            </a:p>
          </p:txBody>
        </p:sp>
        <p:pic>
          <p:nvPicPr>
            <p:cNvPr id="22" name="Picture 36" descr="Dandelion with solid fill">
              <a:extLst>
                <a:ext uri="{FF2B5EF4-FFF2-40B4-BE49-F238E27FC236}">
                  <a16:creationId xmlns:a16="http://schemas.microsoft.com/office/drawing/2014/main" id="{F72D684B-2ADF-3FC1-7072-2F8A769D4B9A}"/>
                </a:ext>
              </a:extLst>
            </p:cNvPr>
            <p:cNvPicPr>
              <a:picLocks noChangeAspect="1" noChangeArrowheads="1"/>
            </p:cNvPicPr>
            <p:nvPr/>
          </p:nvPicPr>
          <p:blipFill>
            <a:blip r:embed="rId12">
              <a:extLst>
                <a:ext uri="{96DAC541-7B7A-43D3-8B79-37D633B846F1}">
                  <asvg:svgBlip xmlns:asvg="http://schemas.microsoft.com/office/drawing/2016/SVG/main" r:embed="rId13"/>
                </a:ext>
              </a:extLst>
            </a:blip>
            <a:srcRect/>
            <a:stretch/>
          </p:blipFill>
          <p:spPr bwMode="auto">
            <a:xfrm rot="2449967">
              <a:off x="10318755" y="1622147"/>
              <a:ext cx="665396" cy="665396"/>
            </a:xfrm>
            <a:prstGeom prst="rect">
              <a:avLst/>
            </a:prstGeom>
            <a:noFill/>
            <a:ln>
              <a:noFill/>
            </a:ln>
          </p:spPr>
        </p:pic>
      </p:grpSp>
    </p:spTree>
    <p:extLst>
      <p:ext uri="{BB962C8B-B14F-4D97-AF65-F5344CB8AC3E}">
        <p14:creationId xmlns:p14="http://schemas.microsoft.com/office/powerpoint/2010/main" val="33604303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9320090" y="1501536"/>
            <a:ext cx="1920944" cy="1811112"/>
          </a:xfrm>
          <a:prstGeom prst="roundRect">
            <a:avLst/>
          </a:prstGeom>
          <a:solidFill>
            <a:schemeClr val="accent2">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lang="vi-VN" sz="1600" b="1" dirty="0">
                <a:solidFill>
                  <a:schemeClr val="bg1"/>
                </a:solidFill>
                <a:latin typeface="Calibri" panose="020F0502020204030204" pitchFamily="34" charset="0"/>
                <a:ea typeface="Helvetica Neue Condensed" panose="02000503000000020004" pitchFamily="2" charset="0"/>
                <a:cs typeface="Calibri" panose="020F0502020204030204" pitchFamily="34" charset="0"/>
              </a:rPr>
              <a:t>Sàng lọc lao, COVID-19 và một số bệnh NTĐHH phổ biến ở tuyếnYTCS</a:t>
            </a:r>
            <a:endParaRPr lang="vi-VN" sz="1600" b="1" dirty="0">
              <a:latin typeface="Calibri" panose="020F0502020204030204" pitchFamily="34" charset="0"/>
              <a:cs typeface="Calibri" panose="020F0502020204030204" pitchFamily="34" charset="0"/>
            </a:endParaRPr>
          </a:p>
        </p:txBody>
      </p:sp>
      <p:sp>
        <p:nvSpPr>
          <p:cNvPr id="5" name="Rounded Rectangle 4"/>
          <p:cNvSpPr/>
          <p:nvPr/>
        </p:nvSpPr>
        <p:spPr>
          <a:xfrm>
            <a:off x="1602655" y="1474238"/>
            <a:ext cx="1920944" cy="1811112"/>
          </a:xfrm>
          <a:prstGeom prst="roundRect">
            <a:avLst/>
          </a:prstGeom>
          <a:solidFill>
            <a:schemeClr val="accent2">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lang="vi-VN" sz="1600" b="1" dirty="0">
                <a:latin typeface="Calibri" panose="020F0502020204030204" pitchFamily="34" charset="0"/>
                <a:cs typeface="Calibri" panose="020F0502020204030204" pitchFamily="34" charset="0"/>
              </a:rPr>
              <a:t>Phát triển và thí điểm phần mềm TBXpress quản lý chuyển gửi mẫu bệnh phẩm lao</a:t>
            </a:r>
          </a:p>
        </p:txBody>
      </p:sp>
      <p:sp>
        <p:nvSpPr>
          <p:cNvPr id="11" name="Rectangle 10"/>
          <p:cNvSpPr/>
          <p:nvPr/>
        </p:nvSpPr>
        <p:spPr>
          <a:xfrm>
            <a:off x="1014608" y="3285351"/>
            <a:ext cx="3306871"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Hỗ trợ phát triển TBXpress cho phép người dùng</a:t>
            </a:r>
          </a:p>
          <a:p>
            <a:pPr marL="247657" lvl="1" indent="-165593">
              <a:spcBef>
                <a:spcPts val="600"/>
              </a:spcBef>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a) theo dõi chuyển gửi mẫu bệnh lao</a:t>
            </a:r>
          </a:p>
          <a:p>
            <a:pPr marL="247657" lvl="1" indent="-165593">
              <a:spcBef>
                <a:spcPts val="600"/>
              </a:spcBef>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b) theo dõi mẫu trong quá trình vận chuyển </a:t>
            </a:r>
          </a:p>
          <a:p>
            <a:pPr marL="247657" lvl="1" indent="-165593">
              <a:spcBef>
                <a:spcPts val="600"/>
              </a:spcBef>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c) quản lý chất lượng mẫu d) trả KQXN theo thời gian thực</a:t>
            </a:r>
          </a:p>
        </p:txBody>
      </p:sp>
      <p:sp>
        <p:nvSpPr>
          <p:cNvPr id="14" name="Rectangle 13"/>
          <p:cNvSpPr/>
          <p:nvPr/>
        </p:nvSpPr>
        <p:spPr>
          <a:xfrm>
            <a:off x="8706460" y="3312649"/>
            <a:ext cx="3154045"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Nội dung và kêt quả dự án được báo cáo trong hội thảo này</a:t>
            </a:r>
          </a:p>
        </p:txBody>
      </p:sp>
      <p:pic>
        <p:nvPicPr>
          <p:cNvPr id="30" name="Picture 36" descr="https://d30y9cdsu7xlg0.cloudfront.net/png/2171-200.png"/>
          <p:cNvPicPr>
            <a:picLocks noChangeAspect="1" noChangeArrowheads="1"/>
          </p:cNvPicPr>
          <p:nvPr/>
        </p:nvPicPr>
        <p:blipFill>
          <a:blip r:embed="rId3" cstate="print">
            <a:lum bright="100000"/>
            <a:duotone>
              <a:schemeClr val="bg2">
                <a:shade val="45000"/>
                <a:satMod val="135000"/>
              </a:schemeClr>
              <a:prstClr val="white"/>
            </a:duotone>
          </a:blip>
          <a:srcRect/>
          <a:stretch>
            <a:fillRect/>
          </a:stretch>
        </p:blipFill>
        <p:spPr bwMode="auto">
          <a:xfrm>
            <a:off x="5998637" y="1342694"/>
            <a:ext cx="665396" cy="698641"/>
          </a:xfrm>
          <a:prstGeom prst="rect">
            <a:avLst/>
          </a:prstGeom>
          <a:noFill/>
          <a:ln>
            <a:noFill/>
          </a:ln>
        </p:spPr>
      </p:pic>
      <p:pic>
        <p:nvPicPr>
          <p:cNvPr id="31" name="Picture 4" descr="https://d30y9cdsu7xlg0.cloudfront.net/png/4195-200.png">
            <a:hlinkClick r:id="rId4" tooltip="cycle"/>
          </p:cNvPr>
          <p:cNvPicPr>
            <a:picLocks noChangeAspect="1" noChangeArrowheads="1"/>
          </p:cNvPicPr>
          <p:nvPr/>
        </p:nvPicPr>
        <p:blipFill>
          <a:blip r:embed="rId5" cstate="print">
            <a:lum bright="100000"/>
            <a:duotone>
              <a:schemeClr val="bg2">
                <a:shade val="45000"/>
                <a:satMod val="135000"/>
              </a:schemeClr>
              <a:prstClr val="white"/>
            </a:duotone>
          </a:blip>
          <a:srcRect/>
          <a:stretch>
            <a:fillRect/>
          </a:stretch>
        </p:blipFill>
        <p:spPr bwMode="auto">
          <a:xfrm>
            <a:off x="679660" y="1501216"/>
            <a:ext cx="527997" cy="554378"/>
          </a:xfrm>
          <a:prstGeom prst="rect">
            <a:avLst/>
          </a:prstGeom>
          <a:noFill/>
          <a:ln>
            <a:noFill/>
          </a:ln>
        </p:spPr>
      </p:pic>
      <p:pic>
        <p:nvPicPr>
          <p:cNvPr id="32" name="Picture 2" descr="Internet with solid fill">
            <a:hlinkClick r:id="rId6" tooltip="group"/>
          </p:cNvPr>
          <p:cNvPicPr>
            <a:picLocks noChangeAspect="1" noChangeArrowheads="1"/>
          </p:cNvPicPr>
          <p:nvPr/>
        </p:nvPicPr>
        <p:blipFill>
          <a:blip r:embed="rId7">
            <a:extLst>
              <a:ext uri="{96DAC541-7B7A-43D3-8B79-37D633B846F1}">
                <asvg:svgBlip xmlns:asvg="http://schemas.microsoft.com/office/drawing/2016/SVG/main" r:embed="rId8"/>
              </a:ext>
            </a:extLst>
          </a:blip>
          <a:srcRect/>
          <a:stretch/>
        </p:blipFill>
        <p:spPr bwMode="auto">
          <a:xfrm>
            <a:off x="2195679" y="1342985"/>
            <a:ext cx="641869" cy="641869"/>
          </a:xfrm>
          <a:prstGeom prst="rect">
            <a:avLst/>
          </a:prstGeom>
          <a:noFill/>
          <a:ln>
            <a:noFill/>
          </a:ln>
        </p:spPr>
      </p:pic>
      <p:pic>
        <p:nvPicPr>
          <p:cNvPr id="33" name="Picture 6" descr="https://d30y9cdsu7xlg0.cloudfront.net/png/384802-200.png">
            <a:hlinkClick r:id="rId9" tooltip="Shield"/>
          </p:cNvPr>
          <p:cNvPicPr>
            <a:picLocks noChangeAspect="1" noChangeArrowheads="1"/>
          </p:cNvPicPr>
          <p:nvPr/>
        </p:nvPicPr>
        <p:blipFill>
          <a:blip r:embed="rId10" cstate="print">
            <a:lum bright="100000"/>
            <a:duotone>
              <a:schemeClr val="bg2">
                <a:shade val="45000"/>
                <a:satMod val="135000"/>
              </a:schemeClr>
              <a:prstClr val="white"/>
            </a:duotone>
          </a:blip>
          <a:srcRect/>
          <a:stretch>
            <a:fillRect/>
          </a:stretch>
        </p:blipFill>
        <p:spPr bwMode="auto">
          <a:xfrm>
            <a:off x="10064617" y="1433909"/>
            <a:ext cx="524728" cy="550945"/>
          </a:xfrm>
          <a:prstGeom prst="rect">
            <a:avLst/>
          </a:prstGeom>
          <a:noFill/>
          <a:ln>
            <a:noFill/>
          </a:ln>
        </p:spPr>
      </p:pic>
      <p:pic>
        <p:nvPicPr>
          <p:cNvPr id="34" name="Picture 4" descr="https://d30y9cdsu7xlg0.cloudfront.net/png/534532-200.png">
            <a:hlinkClick r:id="rId11" tooltip="Checklist"/>
          </p:cNvPr>
          <p:cNvPicPr>
            <a:picLocks noChangeAspect="1" noChangeArrowheads="1"/>
          </p:cNvPicPr>
          <p:nvPr/>
        </p:nvPicPr>
        <p:blipFill>
          <a:blip r:embed="rId12" cstate="print">
            <a:lum bright="100000"/>
            <a:duotone>
              <a:schemeClr val="bg2">
                <a:shade val="45000"/>
                <a:satMod val="135000"/>
              </a:schemeClr>
              <a:prstClr val="white"/>
            </a:duotone>
          </a:blip>
          <a:srcRect/>
          <a:stretch>
            <a:fillRect/>
          </a:stretch>
        </p:blipFill>
        <p:spPr bwMode="auto">
          <a:xfrm>
            <a:off x="4822103" y="1396523"/>
            <a:ext cx="437368" cy="478929"/>
          </a:xfrm>
          <a:prstGeom prst="rect">
            <a:avLst/>
          </a:prstGeom>
          <a:noFill/>
          <a:ln>
            <a:noFill/>
          </a:ln>
        </p:spPr>
      </p:pic>
      <p:sp>
        <p:nvSpPr>
          <p:cNvPr id="10" name="Text Placeholder 2">
            <a:extLst>
              <a:ext uri="{FF2B5EF4-FFF2-40B4-BE49-F238E27FC236}">
                <a16:creationId xmlns:a16="http://schemas.microsoft.com/office/drawing/2014/main" id="{D4379A13-9EE1-C220-4F9B-78B145AE7FA3}"/>
              </a:ext>
            </a:extLst>
          </p:cNvPr>
          <p:cNvSpPr txBox="1">
            <a:spLocks/>
          </p:cNvSpPr>
          <p:nvPr/>
        </p:nvSpPr>
        <p:spPr>
          <a:xfrm>
            <a:off x="644336" y="720252"/>
            <a:ext cx="10440000" cy="381159"/>
          </a:xfrm>
          <a:prstGeom prst="rect">
            <a:avLst/>
          </a:prstGeom>
        </p:spPr>
        <p:txBody>
          <a:bodyPr/>
          <a:lstStyle>
            <a:lvl1pPr marL="0" indent="0" algn="l" rtl="0" eaLnBrk="1" fontAlgn="base" hangingPunct="1">
              <a:spcBef>
                <a:spcPct val="20000"/>
              </a:spcBef>
              <a:spcAft>
                <a:spcPct val="0"/>
              </a:spcAft>
              <a:buClr>
                <a:schemeClr val="tx2"/>
              </a:buClr>
              <a:defRPr sz="1200" b="0" kern="1200" spc="100" baseline="0">
                <a:solidFill>
                  <a:srgbClr val="4C5B68"/>
                </a:solidFill>
                <a:latin typeface="+mn-lt"/>
                <a:ea typeface="+mn-ea"/>
                <a:cs typeface="+mn-cs"/>
              </a:defRPr>
            </a:lvl1pPr>
            <a:lvl2pPr marL="274638" indent="-274638" algn="l" rtl="0" eaLnBrk="1" fontAlgn="base" hangingPunct="1">
              <a:spcBef>
                <a:spcPct val="20000"/>
              </a:spcBef>
              <a:spcAft>
                <a:spcPct val="0"/>
              </a:spcAft>
              <a:buClr>
                <a:srgbClr val="5A2259"/>
              </a:buClr>
              <a:buFont typeface="Wingdings" panose="05000000000000000000" pitchFamily="2" charset="2"/>
              <a:buChar char="§"/>
              <a:tabLst/>
              <a:defRPr sz="1600" kern="1200">
                <a:solidFill>
                  <a:srgbClr val="5A2259"/>
                </a:solidFill>
                <a:latin typeface="Franklin Gothic Medium" panose="020B0603020102020204" pitchFamily="34" charset="0"/>
                <a:ea typeface="+mn-ea"/>
                <a:cs typeface="+mn-cs"/>
              </a:defRPr>
            </a:lvl2pPr>
            <a:lvl3pPr marL="274638" indent="-274638" algn="l" rtl="0" eaLnBrk="1" fontAlgn="base" hangingPunct="1">
              <a:spcBef>
                <a:spcPct val="20000"/>
              </a:spcBef>
              <a:spcAft>
                <a:spcPct val="0"/>
              </a:spcAft>
              <a:buClr>
                <a:schemeClr val="tx2"/>
              </a:buClr>
              <a:buFont typeface="Wingdings" panose="05000000000000000000" pitchFamily="2" charset="2"/>
              <a:buChar char="§"/>
              <a:tabLst/>
              <a:defRPr sz="1600" kern="1200">
                <a:solidFill>
                  <a:srgbClr val="43ABB6"/>
                </a:solidFill>
                <a:latin typeface="Franklin Gothic Medium" panose="020B0603020102020204" pitchFamily="34" charset="0"/>
                <a:ea typeface="+mn-ea"/>
                <a:cs typeface="+mn-cs"/>
              </a:defRPr>
            </a:lvl3pPr>
            <a:lvl4pPr marL="274638" indent="-265113" algn="l" rtl="0" eaLnBrk="1" fontAlgn="base" hangingPunct="1">
              <a:spcBef>
                <a:spcPct val="20000"/>
              </a:spcBef>
              <a:spcAft>
                <a:spcPct val="0"/>
              </a:spcAft>
              <a:buClr>
                <a:srgbClr val="E93F47"/>
              </a:buClr>
              <a:buFont typeface="Wingdings" panose="05000000000000000000" pitchFamily="2" charset="2"/>
              <a:buChar char="§"/>
              <a:tabLst/>
              <a:defRPr sz="1600" kern="1200">
                <a:solidFill>
                  <a:srgbClr val="D3553F"/>
                </a:solidFill>
                <a:latin typeface="Franklin Gothic Medium" panose="020B0603020102020204" pitchFamily="34" charset="0"/>
                <a:ea typeface="+mn-ea"/>
                <a:cs typeface="+mn-cs"/>
              </a:defRPr>
            </a:lvl4pPr>
            <a:lvl5pPr marL="274638" indent="-265113" algn="l" rtl="0" eaLnBrk="1" fontAlgn="base" hangingPunct="1">
              <a:spcBef>
                <a:spcPct val="20000"/>
              </a:spcBef>
              <a:spcAft>
                <a:spcPct val="0"/>
              </a:spcAft>
              <a:buClr>
                <a:srgbClr val="8C9EAB"/>
              </a:buClr>
              <a:buFont typeface="Wingdings" panose="05000000000000000000" pitchFamily="2" charset="2"/>
              <a:buChar char="§"/>
              <a:tabLst/>
              <a:defRPr sz="1600" kern="1200">
                <a:solidFill>
                  <a:srgbClr val="8C9EAB"/>
                </a:solidFill>
                <a:latin typeface="Franklin Gothic Medium" panose="020B06030201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vi-VN" sz="2000" b="1" cap="all" spc="300" dirty="0">
                <a:solidFill>
                  <a:srgbClr val="5A2259"/>
                </a:solidFill>
                <a:latin typeface="Calibri" panose="020F0502020204030204" pitchFamily="34" charset="0"/>
                <a:cs typeface="Calibri" panose="020F0502020204030204" pitchFamily="34" charset="0"/>
              </a:rPr>
              <a:t>CÁC dự án lao hiện tại (2022-2023)</a:t>
            </a:r>
          </a:p>
        </p:txBody>
      </p:sp>
      <p:sp>
        <p:nvSpPr>
          <p:cNvPr id="16" name="Title 1">
            <a:extLst>
              <a:ext uri="{FF2B5EF4-FFF2-40B4-BE49-F238E27FC236}">
                <a16:creationId xmlns:a16="http://schemas.microsoft.com/office/drawing/2014/main" id="{30F42FAC-0241-D17A-F535-C2FAE99E09F5}"/>
              </a:ext>
            </a:extLst>
          </p:cNvPr>
          <p:cNvSpPr>
            <a:spLocks noGrp="1"/>
          </p:cNvSpPr>
          <p:nvPr>
            <p:ph type="title"/>
          </p:nvPr>
        </p:nvSpPr>
        <p:spPr>
          <a:xfrm>
            <a:off x="644336" y="442497"/>
            <a:ext cx="9360000" cy="308122"/>
          </a:xfrm>
        </p:spPr>
        <p:txBody>
          <a:bodyPr/>
          <a:lstStyle/>
          <a:p>
            <a:r>
              <a:rPr lang="vi-VN" sz="1600" b="1" dirty="0">
                <a:latin typeface="Calibri" panose="020F0502020204030204" pitchFamily="34" charset="0"/>
                <a:cs typeface="Calibri" panose="020F0502020204030204" pitchFamily="34" charset="0"/>
              </a:rPr>
              <a:t>Chương trình quốc gia của find tại viet nam</a:t>
            </a:r>
            <a:endParaRPr lang="vi-VN" dirty="0">
              <a:latin typeface="Calibri" panose="020F0502020204030204" pitchFamily="34" charset="0"/>
              <a:cs typeface="Calibri" panose="020F0502020204030204" pitchFamily="34" charset="0"/>
            </a:endParaRPr>
          </a:p>
        </p:txBody>
      </p:sp>
      <p:sp>
        <p:nvSpPr>
          <p:cNvPr id="17" name="Rounded Rectangle 16">
            <a:extLst>
              <a:ext uri="{FF2B5EF4-FFF2-40B4-BE49-F238E27FC236}">
                <a16:creationId xmlns:a16="http://schemas.microsoft.com/office/drawing/2014/main" id="{C74FF1AF-F9B9-7E9D-9599-94E5CF7098C4}"/>
              </a:ext>
            </a:extLst>
          </p:cNvPr>
          <p:cNvSpPr/>
          <p:nvPr/>
        </p:nvSpPr>
        <p:spPr>
          <a:xfrm>
            <a:off x="5537016" y="1501536"/>
            <a:ext cx="1920944" cy="1811112"/>
          </a:xfrm>
          <a:prstGeom prst="roundRect">
            <a:avLst/>
          </a:prstGeom>
          <a:solidFill>
            <a:schemeClr val="accent2">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lang="vi-VN" sz="1600" b="1" dirty="0">
                <a:latin typeface="Calibri" panose="020F0502020204030204" pitchFamily="34" charset="0"/>
                <a:cs typeface="Calibri" panose="020F0502020204030204" pitchFamily="34" charset="0"/>
              </a:rPr>
              <a:t>Xác định hành vi &amp; chi phí của nhà cung cấp DV liên quan đến giới thiệu XN lao mới</a:t>
            </a:r>
            <a:endParaRPr lang="vi-VN" sz="1600" b="1" dirty="0">
              <a:solidFill>
                <a:schemeClr val="bg1"/>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id="{695DA74F-F85A-1F7F-BA23-7B8845AA14E6}"/>
              </a:ext>
            </a:extLst>
          </p:cNvPr>
          <p:cNvSpPr/>
          <p:nvPr/>
        </p:nvSpPr>
        <p:spPr>
          <a:xfrm>
            <a:off x="4935109" y="3312649"/>
            <a:ext cx="3468662"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spcBef>
                <a:spcPts val="600"/>
              </a:spcBef>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Kiểm tra việc ra quyết định của nhà cung cấp dịch vụ điều trị bệnh lao khi đáp ứng với xét nghiệm chẩn đoán mới.</a:t>
            </a:r>
          </a:p>
          <a:p>
            <a:pPr marL="247657" lvl="1" indent="-165593">
              <a:spcBef>
                <a:spcPts val="600"/>
              </a:spcBef>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2. Ứớc tính chi phí gia tăng của việc giới thiệu các xét nghiệm chẩn đoán mới đói với bệnh nhân, nhà cung cấp dịch vụ y tế và cấp quản lý</a:t>
            </a:r>
          </a:p>
        </p:txBody>
      </p:sp>
      <p:pic>
        <p:nvPicPr>
          <p:cNvPr id="19" name="Picture 6" descr="Group of women with solid fill">
            <a:hlinkClick r:id="rId9" tooltip="Shield"/>
            <a:extLst>
              <a:ext uri="{FF2B5EF4-FFF2-40B4-BE49-F238E27FC236}">
                <a16:creationId xmlns:a16="http://schemas.microsoft.com/office/drawing/2014/main" id="{9AB4F8F6-615C-6FFD-F3DE-971D479A0A82}"/>
              </a:ext>
            </a:extLst>
          </p:cNvPr>
          <p:cNvPicPr>
            <a:picLocks noChangeAspect="1" noChangeArrowheads="1"/>
          </p:cNvPicPr>
          <p:nvPr/>
        </p:nvPicPr>
        <p:blipFill>
          <a:blip r:embed="rId13">
            <a:extLst>
              <a:ext uri="{96DAC541-7B7A-43D3-8B79-37D633B846F1}">
                <asvg:svgBlip xmlns:asvg="http://schemas.microsoft.com/office/drawing/2016/SVG/main" r:embed="rId14"/>
              </a:ext>
            </a:extLst>
          </a:blip>
          <a:srcRect/>
          <a:stretch/>
        </p:blipFill>
        <p:spPr bwMode="auto">
          <a:xfrm>
            <a:off x="6238132" y="1429650"/>
            <a:ext cx="524728" cy="524728"/>
          </a:xfrm>
          <a:prstGeom prst="rect">
            <a:avLst/>
          </a:prstGeom>
          <a:noFill/>
          <a:ln>
            <a:noFill/>
          </a:ln>
        </p:spPr>
      </p:pic>
    </p:spTree>
    <p:extLst>
      <p:ext uri="{BB962C8B-B14F-4D97-AF65-F5344CB8AC3E}">
        <p14:creationId xmlns:p14="http://schemas.microsoft.com/office/powerpoint/2010/main" val="20293903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5313967" y="1474238"/>
            <a:ext cx="1920944" cy="1811112"/>
          </a:xfrm>
          <a:prstGeom prst="roundRect">
            <a:avLst/>
          </a:prstGeom>
          <a:solidFill>
            <a:srgbClr val="4C5B68"/>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lang="vi-VN" b="0" i="0" u="none" strike="noStrike" dirty="0">
                <a:solidFill>
                  <a:srgbClr val="000000"/>
                </a:solidFill>
                <a:effectLst/>
                <a:latin typeface="Calibri" panose="020F0502020204030204" pitchFamily="34" charset="0"/>
                <a:cs typeface="Calibri" panose="020F0502020204030204" pitchFamily="34" charset="0"/>
              </a:rPr>
              <a:t> </a:t>
            </a:r>
            <a:r>
              <a:rPr lang="vi-VN" sz="1600" b="1" dirty="0">
                <a:latin typeface="Calibri" panose="020F0502020204030204" pitchFamily="34" charset="0"/>
                <a:cs typeface="Calibri" panose="020F0502020204030204" pitchFamily="34" charset="0"/>
              </a:rPr>
              <a:t> Nâng cao năng lực chẩn đoán để quản lý các bệnh phổ biến tại YTCS</a:t>
            </a:r>
          </a:p>
        </p:txBody>
      </p:sp>
      <p:sp>
        <p:nvSpPr>
          <p:cNvPr id="4" name="Rounded Rectangle 3"/>
          <p:cNvSpPr/>
          <p:nvPr/>
        </p:nvSpPr>
        <p:spPr>
          <a:xfrm>
            <a:off x="1623921" y="1474238"/>
            <a:ext cx="1920944" cy="1811112"/>
          </a:xfrm>
          <a:prstGeom prst="roundRect">
            <a:avLst/>
          </a:prstGeom>
          <a:solidFill>
            <a:srgbClr val="4C5B68"/>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kumimoji="0" lang="vi-VN" sz="1600" b="1" i="0" u="none" strike="noStrike" kern="120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sym typeface="Trebuchet MS" panose="020B0603020202020204" pitchFamily="34" charset="0"/>
              </a:rPr>
              <a:t>Phát triển Danh mục xét nghiệm cơ bản (NEDL) cho YTCS</a:t>
            </a:r>
          </a:p>
          <a:p>
            <a:pPr algn="ctr"/>
            <a:endParaRPr lang="vi-VN" sz="1600" b="1" dirty="0">
              <a:solidFill>
                <a:schemeClr val="bg1"/>
              </a:solidFill>
              <a:latin typeface="Calibri" panose="020F0502020204030204" pitchFamily="34" charset="0"/>
              <a:cs typeface="Calibri" panose="020F0502020204030204" pitchFamily="34" charset="0"/>
            </a:endParaRPr>
          </a:p>
        </p:txBody>
      </p:sp>
      <p:sp>
        <p:nvSpPr>
          <p:cNvPr id="12" name="Rectangle 11"/>
          <p:cNvSpPr/>
          <p:nvPr/>
        </p:nvSpPr>
        <p:spPr>
          <a:xfrm>
            <a:off x="776615" y="3285351"/>
            <a:ext cx="3648290"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buClr>
                <a:srgbClr val="43ABB6"/>
              </a:buClr>
              <a:buSzPct val="100000"/>
              <a:buFont typeface="Arial" panose="020B0604020202020204" pitchFamily="34" charset="0"/>
              <a:buChar char="•"/>
            </a:pPr>
            <a:r>
              <a:rPr lang="vi-VN" sz="1600" dirty="0">
                <a:solidFill>
                  <a:schemeClr val="accent6">
                    <a:lumMod val="50000"/>
                  </a:schemeClr>
                </a:solidFill>
                <a:latin typeface="Calibri" panose="020F0502020204030204" pitchFamily="34" charset="0"/>
                <a:cs typeface="Calibri" panose="020F0502020204030204" pitchFamily="34" charset="0"/>
                <a:sym typeface="Trebuchet MS" panose="020B0603020202020204" pitchFamily="34" charset="0"/>
              </a:rPr>
              <a:t>Hỗ trợ Cục QLKCB, BYT rà soát các chính sách hiện hành về dịch vụ CLS của YTCS</a:t>
            </a:r>
          </a:p>
          <a:p>
            <a:pPr marL="247657" lvl="1" indent="-165593">
              <a:buClr>
                <a:srgbClr val="43ABB6"/>
              </a:buClr>
              <a:buSzPct val="100000"/>
              <a:buFont typeface="Arial" panose="020B0604020202020204" pitchFamily="34" charset="0"/>
              <a:buChar char="•"/>
            </a:pPr>
            <a:r>
              <a:rPr lang="vi-VN" sz="1600" dirty="0">
                <a:solidFill>
                  <a:schemeClr val="accent6">
                    <a:lumMod val="50000"/>
                  </a:schemeClr>
                </a:solidFill>
                <a:latin typeface="Calibri" panose="020F0502020204030204" pitchFamily="34" charset="0"/>
                <a:cs typeface="Calibri" panose="020F0502020204030204" pitchFamily="34" charset="0"/>
                <a:sym typeface="Trebuchet MS" panose="020B0603020202020204" pitchFamily="34" charset="0"/>
              </a:rPr>
              <a:t>Tiến hành khảo sát trên toàn quốc về việc cung cấp dịch vụ chẩn đoán tại các cơ sở YTCS.</a:t>
            </a:r>
          </a:p>
          <a:p>
            <a:pPr marL="247657" lvl="1" indent="-165593">
              <a:buClr>
                <a:srgbClr val="43ABB6"/>
              </a:buClr>
              <a:buSzPct val="100000"/>
              <a:buFont typeface="Arial" panose="020B0604020202020204" pitchFamily="34" charset="0"/>
              <a:buChar char="•"/>
            </a:pPr>
            <a:r>
              <a:rPr lang="vi-VN" sz="1600" dirty="0">
                <a:solidFill>
                  <a:schemeClr val="accent6">
                    <a:lumMod val="50000"/>
                  </a:schemeClr>
                </a:solidFill>
                <a:latin typeface="Calibri" panose="020F0502020204030204" pitchFamily="34" charset="0"/>
                <a:cs typeface="Calibri" panose="020F0502020204030204" pitchFamily="34" charset="0"/>
                <a:sym typeface="Trebuchet MS" panose="020B0603020202020204" pitchFamily="34" charset="0"/>
              </a:rPr>
              <a:t>Cùng với chuyên gia quốc tế và trong nước, hỗ trợ BYT xây dựng NEDL mới theo tiêu chí của WHO</a:t>
            </a:r>
          </a:p>
        </p:txBody>
      </p:sp>
      <p:sp>
        <p:nvSpPr>
          <p:cNvPr id="13" name="Rectangle 12"/>
          <p:cNvSpPr/>
          <p:nvPr/>
        </p:nvSpPr>
        <p:spPr>
          <a:xfrm>
            <a:off x="4809995" y="3285350"/>
            <a:ext cx="3331923" cy="3290813"/>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Triển khai 11 loại xét nghiệm cho 4 nhóm ưu tiên khác nhau:</a:t>
            </a:r>
          </a:p>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Sàng lọc XN nhanh HIV, giang mai, HBV, HCV, rubella (phụ nữ mang thai)</a:t>
            </a:r>
          </a:p>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Xét nghiệm nhanh lậu và chlamydia, HPV DNA (phụ nữ độ tuổi sinh đẻ), </a:t>
            </a:r>
          </a:p>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XN nhanh bệnh đường hô hấp (cúm A, B, RSV) và tiêu chảy (rota và lỵ amip) trẻ &lt; 5 tuổi.</a:t>
            </a:r>
          </a:p>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XN nhanh tiêu chảy do lỵ amip cho người có triệu chứng</a:t>
            </a:r>
          </a:p>
        </p:txBody>
      </p:sp>
      <p:sp>
        <p:nvSpPr>
          <p:cNvPr id="14" name="Rectangle 13"/>
          <p:cNvSpPr/>
          <p:nvPr/>
        </p:nvSpPr>
        <p:spPr>
          <a:xfrm>
            <a:off x="8265363" y="3285351"/>
            <a:ext cx="3331923" cy="2411774"/>
          </a:xfrm>
          <a:prstGeom prst="rect">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t" anchorCtr="0"/>
          <a:lstStyle/>
          <a:p>
            <a:pPr marL="247657" lvl="1" indent="-165593">
              <a:buClr>
                <a:srgbClr val="43ABB6"/>
              </a:buClr>
              <a:buSzPct val="100000"/>
              <a:buFont typeface="Arial" panose="020B0604020202020204" pitchFamily="34" charset="0"/>
              <a:buChar char="•"/>
            </a:pPr>
            <a:r>
              <a:rPr lang="vi-VN" sz="1600" dirty="0">
                <a:solidFill>
                  <a:srgbClr val="000000"/>
                </a:solidFill>
                <a:latin typeface="Calibri" panose="020F0502020204030204" pitchFamily="34" charset="0"/>
                <a:cs typeface="Calibri" panose="020F0502020204030204" pitchFamily="34" charset="0"/>
              </a:rPr>
              <a:t>Hướng dẫn nhân viên y tế thực hiện tuần tự các quy của dự án và gợi ý tư vấn phù hợp với từng cá nhân, dựa trên các triệu chứng và kết quả xét nghiệm.</a:t>
            </a:r>
          </a:p>
        </p:txBody>
      </p:sp>
      <p:pic>
        <p:nvPicPr>
          <p:cNvPr id="31" name="Picture 4" descr="Checklist with solid fill">
            <a:hlinkClick r:id="rId3" tooltip="cycle"/>
          </p:cNvPr>
          <p:cNvPicPr>
            <a:picLocks noChangeAspect="1" noChangeArrowheads="1"/>
          </p:cNvPicPr>
          <p:nvPr/>
        </p:nvPicPr>
        <p:blipFill>
          <a:blip r:embed="rId4">
            <a:extLst>
              <a:ext uri="{96DAC541-7B7A-43D3-8B79-37D633B846F1}">
                <asvg:svgBlip xmlns:asvg="http://schemas.microsoft.com/office/drawing/2016/SVG/main" r:embed="rId5"/>
              </a:ext>
            </a:extLst>
          </a:blip>
          <a:srcRect/>
          <a:stretch/>
        </p:blipFill>
        <p:spPr bwMode="auto">
          <a:xfrm>
            <a:off x="2259272" y="1475782"/>
            <a:ext cx="527997" cy="527997"/>
          </a:xfrm>
          <a:prstGeom prst="rect">
            <a:avLst/>
          </a:prstGeom>
          <a:noFill/>
          <a:ln>
            <a:noFill/>
          </a:ln>
        </p:spPr>
      </p:pic>
      <p:pic>
        <p:nvPicPr>
          <p:cNvPr id="33" name="Picture 6" descr="https://d30y9cdsu7xlg0.cloudfront.net/png/384802-200.png">
            <a:hlinkClick r:id="rId6" tooltip="Shield"/>
          </p:cNvPr>
          <p:cNvPicPr>
            <a:picLocks noChangeAspect="1" noChangeArrowheads="1"/>
          </p:cNvPicPr>
          <p:nvPr/>
        </p:nvPicPr>
        <p:blipFill>
          <a:blip r:embed="rId7" cstate="print">
            <a:lum bright="100000"/>
            <a:duotone>
              <a:schemeClr val="bg2">
                <a:shade val="45000"/>
                <a:satMod val="135000"/>
              </a:schemeClr>
              <a:prstClr val="white"/>
            </a:duotone>
          </a:blip>
          <a:srcRect/>
          <a:stretch>
            <a:fillRect/>
          </a:stretch>
        </p:blipFill>
        <p:spPr bwMode="auto">
          <a:xfrm>
            <a:off x="9902363" y="1433909"/>
            <a:ext cx="524728" cy="550945"/>
          </a:xfrm>
          <a:prstGeom prst="rect">
            <a:avLst/>
          </a:prstGeom>
          <a:noFill/>
          <a:ln>
            <a:noFill/>
          </a:ln>
        </p:spPr>
      </p:pic>
      <p:sp>
        <p:nvSpPr>
          <p:cNvPr id="10" name="Text Placeholder 2">
            <a:extLst>
              <a:ext uri="{FF2B5EF4-FFF2-40B4-BE49-F238E27FC236}">
                <a16:creationId xmlns:a16="http://schemas.microsoft.com/office/drawing/2014/main" id="{D4379A13-9EE1-C220-4F9B-78B145AE7FA3}"/>
              </a:ext>
            </a:extLst>
          </p:cNvPr>
          <p:cNvSpPr txBox="1">
            <a:spLocks/>
          </p:cNvSpPr>
          <p:nvPr/>
        </p:nvSpPr>
        <p:spPr>
          <a:xfrm>
            <a:off x="644336" y="720252"/>
            <a:ext cx="10440000" cy="381159"/>
          </a:xfrm>
          <a:prstGeom prst="rect">
            <a:avLst/>
          </a:prstGeom>
        </p:spPr>
        <p:txBody>
          <a:bodyPr/>
          <a:lstStyle>
            <a:lvl1pPr marL="0" indent="0" algn="l" rtl="0" eaLnBrk="1" fontAlgn="base" hangingPunct="1">
              <a:spcBef>
                <a:spcPct val="20000"/>
              </a:spcBef>
              <a:spcAft>
                <a:spcPct val="0"/>
              </a:spcAft>
              <a:buClr>
                <a:schemeClr val="tx2"/>
              </a:buClr>
              <a:defRPr sz="1200" b="0" kern="1200" spc="100" baseline="0">
                <a:solidFill>
                  <a:srgbClr val="4C5B68"/>
                </a:solidFill>
                <a:latin typeface="+mn-lt"/>
                <a:ea typeface="+mn-ea"/>
                <a:cs typeface="+mn-cs"/>
              </a:defRPr>
            </a:lvl1pPr>
            <a:lvl2pPr marL="274638" indent="-274638" algn="l" rtl="0" eaLnBrk="1" fontAlgn="base" hangingPunct="1">
              <a:spcBef>
                <a:spcPct val="20000"/>
              </a:spcBef>
              <a:spcAft>
                <a:spcPct val="0"/>
              </a:spcAft>
              <a:buClr>
                <a:srgbClr val="5A2259"/>
              </a:buClr>
              <a:buFont typeface="Wingdings" panose="05000000000000000000" pitchFamily="2" charset="2"/>
              <a:buChar char="§"/>
              <a:tabLst/>
              <a:defRPr sz="1600" kern="1200">
                <a:solidFill>
                  <a:srgbClr val="5A2259"/>
                </a:solidFill>
                <a:latin typeface="Franklin Gothic Medium" panose="020B0603020102020204" pitchFamily="34" charset="0"/>
                <a:ea typeface="+mn-ea"/>
                <a:cs typeface="+mn-cs"/>
              </a:defRPr>
            </a:lvl2pPr>
            <a:lvl3pPr marL="274638" indent="-274638" algn="l" rtl="0" eaLnBrk="1" fontAlgn="base" hangingPunct="1">
              <a:spcBef>
                <a:spcPct val="20000"/>
              </a:spcBef>
              <a:spcAft>
                <a:spcPct val="0"/>
              </a:spcAft>
              <a:buClr>
                <a:schemeClr val="tx2"/>
              </a:buClr>
              <a:buFont typeface="Wingdings" panose="05000000000000000000" pitchFamily="2" charset="2"/>
              <a:buChar char="§"/>
              <a:tabLst/>
              <a:defRPr sz="1600" kern="1200">
                <a:solidFill>
                  <a:srgbClr val="43ABB6"/>
                </a:solidFill>
                <a:latin typeface="Franklin Gothic Medium" panose="020B0603020102020204" pitchFamily="34" charset="0"/>
                <a:ea typeface="+mn-ea"/>
                <a:cs typeface="+mn-cs"/>
              </a:defRPr>
            </a:lvl3pPr>
            <a:lvl4pPr marL="274638" indent="-265113" algn="l" rtl="0" eaLnBrk="1" fontAlgn="base" hangingPunct="1">
              <a:spcBef>
                <a:spcPct val="20000"/>
              </a:spcBef>
              <a:spcAft>
                <a:spcPct val="0"/>
              </a:spcAft>
              <a:buClr>
                <a:srgbClr val="E93F47"/>
              </a:buClr>
              <a:buFont typeface="Wingdings" panose="05000000000000000000" pitchFamily="2" charset="2"/>
              <a:buChar char="§"/>
              <a:tabLst/>
              <a:defRPr sz="1600" kern="1200">
                <a:solidFill>
                  <a:srgbClr val="D3553F"/>
                </a:solidFill>
                <a:latin typeface="Franklin Gothic Medium" panose="020B0603020102020204" pitchFamily="34" charset="0"/>
                <a:ea typeface="+mn-ea"/>
                <a:cs typeface="+mn-cs"/>
              </a:defRPr>
            </a:lvl4pPr>
            <a:lvl5pPr marL="274638" indent="-265113" algn="l" rtl="0" eaLnBrk="1" fontAlgn="base" hangingPunct="1">
              <a:spcBef>
                <a:spcPct val="20000"/>
              </a:spcBef>
              <a:spcAft>
                <a:spcPct val="0"/>
              </a:spcAft>
              <a:buClr>
                <a:srgbClr val="8C9EAB"/>
              </a:buClr>
              <a:buFont typeface="Wingdings" panose="05000000000000000000" pitchFamily="2" charset="2"/>
              <a:buChar char="§"/>
              <a:tabLst/>
              <a:defRPr sz="1600" kern="1200">
                <a:solidFill>
                  <a:srgbClr val="8C9EAB"/>
                </a:solidFill>
                <a:latin typeface="Franklin Gothic Medium" panose="020B06030201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vi-VN" sz="2000" b="1" cap="all" spc="300" dirty="0">
                <a:solidFill>
                  <a:srgbClr val="5A2259"/>
                </a:solidFill>
                <a:latin typeface="Calibri" panose="020F0502020204030204" pitchFamily="34" charset="0"/>
                <a:cs typeface="Calibri" panose="020F0502020204030204" pitchFamily="34" charset="0"/>
              </a:rPr>
              <a:t>Các dự án xây dựng năng lực cho YTCS</a:t>
            </a:r>
          </a:p>
        </p:txBody>
      </p:sp>
      <p:sp>
        <p:nvSpPr>
          <p:cNvPr id="16" name="Title 1">
            <a:extLst>
              <a:ext uri="{FF2B5EF4-FFF2-40B4-BE49-F238E27FC236}">
                <a16:creationId xmlns:a16="http://schemas.microsoft.com/office/drawing/2014/main" id="{30F42FAC-0241-D17A-F535-C2FAE99E09F5}"/>
              </a:ext>
            </a:extLst>
          </p:cNvPr>
          <p:cNvSpPr>
            <a:spLocks noGrp="1"/>
          </p:cNvSpPr>
          <p:nvPr>
            <p:ph type="title"/>
          </p:nvPr>
        </p:nvSpPr>
        <p:spPr>
          <a:xfrm>
            <a:off x="644336" y="442497"/>
            <a:ext cx="9360000" cy="308122"/>
          </a:xfrm>
        </p:spPr>
        <p:txBody>
          <a:bodyPr/>
          <a:lstStyle/>
          <a:p>
            <a:r>
              <a:rPr lang="vi-VN" sz="1600" b="1" dirty="0">
                <a:latin typeface="Calibri" panose="020F0502020204030204" pitchFamily="34" charset="0"/>
                <a:cs typeface="Calibri" panose="020F0502020204030204" pitchFamily="34" charset="0"/>
              </a:rPr>
              <a:t>Chương trình quốc gia của find tại viet nam</a:t>
            </a:r>
            <a:endParaRPr lang="vi-VN" dirty="0">
              <a:latin typeface="Calibri" panose="020F0502020204030204" pitchFamily="34" charset="0"/>
              <a:cs typeface="Calibri" panose="020F0502020204030204" pitchFamily="34" charset="0"/>
            </a:endParaRPr>
          </a:p>
        </p:txBody>
      </p:sp>
      <p:pic>
        <p:nvPicPr>
          <p:cNvPr id="19" name="Picture 6" descr="https://d30y9cdsu7xlg0.cloudfront.net/png/384802-200.png">
            <a:hlinkClick r:id="rId6" tooltip="Shield"/>
            <a:extLst>
              <a:ext uri="{FF2B5EF4-FFF2-40B4-BE49-F238E27FC236}">
                <a16:creationId xmlns:a16="http://schemas.microsoft.com/office/drawing/2014/main" id="{9AB4F8F6-615C-6FFD-F3DE-971D479A0A82}"/>
              </a:ext>
            </a:extLst>
          </p:cNvPr>
          <p:cNvPicPr>
            <a:picLocks noChangeAspect="1" noChangeArrowheads="1"/>
          </p:cNvPicPr>
          <p:nvPr/>
        </p:nvPicPr>
        <p:blipFill>
          <a:blip r:embed="rId7" cstate="print">
            <a:lum bright="100000"/>
            <a:duotone>
              <a:schemeClr val="bg2">
                <a:shade val="45000"/>
                <a:satMod val="135000"/>
              </a:schemeClr>
              <a:prstClr val="white"/>
            </a:duotone>
          </a:blip>
          <a:srcRect/>
          <a:stretch>
            <a:fillRect/>
          </a:stretch>
        </p:blipFill>
        <p:spPr bwMode="auto">
          <a:xfrm>
            <a:off x="8800077" y="1395024"/>
            <a:ext cx="524728" cy="550945"/>
          </a:xfrm>
          <a:prstGeom prst="rect">
            <a:avLst/>
          </a:prstGeom>
          <a:noFill/>
          <a:ln>
            <a:noFill/>
          </a:ln>
        </p:spPr>
      </p:pic>
      <p:pic>
        <p:nvPicPr>
          <p:cNvPr id="22" name="Picture 36" descr="Dandelion with solid fill">
            <a:extLst>
              <a:ext uri="{FF2B5EF4-FFF2-40B4-BE49-F238E27FC236}">
                <a16:creationId xmlns:a16="http://schemas.microsoft.com/office/drawing/2014/main" id="{F72D684B-2ADF-3FC1-7072-2F8A769D4B9A}"/>
              </a:ext>
            </a:extLst>
          </p:cNvPr>
          <p:cNvPicPr>
            <a:picLocks noChangeAspect="1" noChangeArrowheads="1"/>
          </p:cNvPicPr>
          <p:nvPr/>
        </p:nvPicPr>
        <p:blipFill>
          <a:blip r:embed="rId8">
            <a:extLst>
              <a:ext uri="{96DAC541-7B7A-43D3-8B79-37D633B846F1}">
                <asvg:svgBlip xmlns:asvg="http://schemas.microsoft.com/office/drawing/2016/SVG/main" r:embed="rId9"/>
              </a:ext>
            </a:extLst>
          </a:blip>
          <a:srcRect/>
          <a:stretch/>
        </p:blipFill>
        <p:spPr bwMode="auto">
          <a:xfrm rot="2449967">
            <a:off x="10795325" y="1525395"/>
            <a:ext cx="665396" cy="665396"/>
          </a:xfrm>
          <a:prstGeom prst="rect">
            <a:avLst/>
          </a:prstGeom>
          <a:noFill/>
          <a:ln>
            <a:noFill/>
          </a:ln>
        </p:spPr>
      </p:pic>
      <p:grpSp>
        <p:nvGrpSpPr>
          <p:cNvPr id="3" name="Group 2">
            <a:extLst>
              <a:ext uri="{FF2B5EF4-FFF2-40B4-BE49-F238E27FC236}">
                <a16:creationId xmlns:a16="http://schemas.microsoft.com/office/drawing/2014/main" id="{3A6D6867-6A45-F075-B7B2-FC692841AAC8}"/>
              </a:ext>
            </a:extLst>
          </p:cNvPr>
          <p:cNvGrpSpPr/>
          <p:nvPr/>
        </p:nvGrpSpPr>
        <p:grpSpPr>
          <a:xfrm>
            <a:off x="8787283" y="1431819"/>
            <a:ext cx="1920944" cy="1853531"/>
            <a:chOff x="6156823" y="1431819"/>
            <a:chExt cx="1920944" cy="1853531"/>
          </a:xfrm>
        </p:grpSpPr>
        <p:sp>
          <p:nvSpPr>
            <p:cNvPr id="7" name="Rounded Rectangle 6"/>
            <p:cNvSpPr/>
            <p:nvPr/>
          </p:nvSpPr>
          <p:spPr>
            <a:xfrm>
              <a:off x="6156823" y="1474238"/>
              <a:ext cx="1920944" cy="1811112"/>
            </a:xfrm>
            <a:prstGeom prst="roundRect">
              <a:avLst/>
            </a:prstGeom>
            <a:solidFill>
              <a:srgbClr val="4C5B68"/>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0" tIns="84406" rIns="0" bIns="84406" rtlCol="0" anchor="b" anchorCtr="0"/>
            <a:lstStyle/>
            <a:p>
              <a:pPr algn="ctr"/>
              <a:r>
                <a:rPr lang="vi-VN" sz="1600" b="1" dirty="0">
                  <a:solidFill>
                    <a:schemeClr val="bg1"/>
                  </a:solidFill>
                  <a:latin typeface="Calibri" panose="020F0502020204030204" pitchFamily="34" charset="0"/>
                  <a:ea typeface="Helvetica Neue Condensed" panose="02000503000000020004" pitchFamily="2" charset="0"/>
                  <a:cs typeface="Calibri" panose="020F0502020204030204" pitchFamily="34" charset="0"/>
                </a:rPr>
                <a:t>Phát triển phần mềm YTCS </a:t>
              </a:r>
              <a:r>
                <a:rPr lang="vi-VN" sz="1600" b="1" dirty="0">
                  <a:latin typeface="Calibri" panose="020F0502020204030204" pitchFamily="34" charset="0"/>
                  <a:cs typeface="Calibri" panose="020F0502020204030204" pitchFamily="34" charset="0"/>
                </a:rPr>
                <a:t>để quản lý các bệnh phổ biến tại YTCS </a:t>
              </a:r>
            </a:p>
          </p:txBody>
        </p:sp>
        <p:pic>
          <p:nvPicPr>
            <p:cNvPr id="2" name="Picture 2" descr="Internet with solid fill">
              <a:hlinkClick r:id="rId10" tooltip="group"/>
              <a:extLst>
                <a:ext uri="{FF2B5EF4-FFF2-40B4-BE49-F238E27FC236}">
                  <a16:creationId xmlns:a16="http://schemas.microsoft.com/office/drawing/2014/main" id="{809BA63F-B6D4-8C1C-3CA5-7C475E575122}"/>
                </a:ext>
              </a:extLst>
            </p:cNvPr>
            <p:cNvPicPr>
              <a:picLocks noChangeAspect="1" noChangeArrowheads="1"/>
            </p:cNvPicPr>
            <p:nvPr/>
          </p:nvPicPr>
          <p:blipFill>
            <a:blip r:embed="rId11">
              <a:extLst>
                <a:ext uri="{96DAC541-7B7A-43D3-8B79-37D633B846F1}">
                  <asvg:svgBlip xmlns:asvg="http://schemas.microsoft.com/office/drawing/2016/SVG/main" r:embed="rId12"/>
                </a:ext>
              </a:extLst>
            </a:blip>
            <a:srcRect/>
            <a:stretch/>
          </p:blipFill>
          <p:spPr bwMode="auto">
            <a:xfrm>
              <a:off x="6807542" y="1431819"/>
              <a:ext cx="641869" cy="641869"/>
            </a:xfrm>
            <a:prstGeom prst="rect">
              <a:avLst/>
            </a:prstGeom>
            <a:noFill/>
            <a:ln>
              <a:noFill/>
            </a:ln>
          </p:spPr>
        </p:pic>
      </p:grpSp>
      <p:pic>
        <p:nvPicPr>
          <p:cNvPr id="9" name="Picture 4" descr="Waiter female with solid fill">
            <a:hlinkClick r:id="rId3" tooltip="cycle"/>
            <a:extLst>
              <a:ext uri="{FF2B5EF4-FFF2-40B4-BE49-F238E27FC236}">
                <a16:creationId xmlns:a16="http://schemas.microsoft.com/office/drawing/2014/main" id="{5F533E6C-91F4-30B1-7072-AFB8A46B8020}"/>
              </a:ext>
            </a:extLst>
          </p:cNvPr>
          <p:cNvPicPr>
            <a:picLocks noChangeAspect="1" noChangeArrowheads="1"/>
          </p:cNvPicPr>
          <p:nvPr/>
        </p:nvPicPr>
        <p:blipFill>
          <a:blip r:embed="rId13">
            <a:extLst>
              <a:ext uri="{96DAC541-7B7A-43D3-8B79-37D633B846F1}">
                <asvg:svgBlip xmlns:asvg="http://schemas.microsoft.com/office/drawing/2016/SVG/main" r:embed="rId14"/>
              </a:ext>
            </a:extLst>
          </a:blip>
          <a:srcRect/>
          <a:stretch/>
        </p:blipFill>
        <p:spPr bwMode="auto">
          <a:xfrm>
            <a:off x="6010440" y="1480137"/>
            <a:ext cx="527997" cy="527997"/>
          </a:xfrm>
          <a:prstGeom prst="rect">
            <a:avLst/>
          </a:prstGeom>
          <a:noFill/>
          <a:ln>
            <a:noFill/>
          </a:ln>
        </p:spPr>
      </p:pic>
    </p:spTree>
    <p:extLst>
      <p:ext uri="{BB962C8B-B14F-4D97-AF65-F5344CB8AC3E}">
        <p14:creationId xmlns:p14="http://schemas.microsoft.com/office/powerpoint/2010/main" val="10213874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group of people in a lab&#10;&#10;Description automatically generated with medium confidence">
            <a:extLst>
              <a:ext uri="{FF2B5EF4-FFF2-40B4-BE49-F238E27FC236}">
                <a16:creationId xmlns:a16="http://schemas.microsoft.com/office/drawing/2014/main" id="{9897D816-60A4-D667-93FD-8F870E0A53FC}"/>
              </a:ext>
            </a:extLst>
          </p:cNvPr>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a:stretch>
            <a:fillRect/>
          </a:stretch>
        </p:blipFill>
        <p:spPr/>
      </p:pic>
      <p:sp>
        <p:nvSpPr>
          <p:cNvPr id="8" name="Title 7">
            <a:extLst>
              <a:ext uri="{FF2B5EF4-FFF2-40B4-BE49-F238E27FC236}">
                <a16:creationId xmlns:a16="http://schemas.microsoft.com/office/drawing/2014/main" id="{EBF3EBDB-1DE2-A9BA-4655-076E65E1A56D}"/>
              </a:ext>
            </a:extLst>
          </p:cNvPr>
          <p:cNvSpPr>
            <a:spLocks noGrp="1"/>
          </p:cNvSpPr>
          <p:nvPr>
            <p:ph type="title"/>
          </p:nvPr>
        </p:nvSpPr>
        <p:spPr>
          <a:xfrm>
            <a:off x="1093521" y="3787375"/>
            <a:ext cx="3132000" cy="831850"/>
          </a:xfrm>
        </p:spPr>
        <p:txBody>
          <a:bodyPr/>
          <a:lstStyle/>
          <a:p>
            <a:r>
              <a:rPr lang="en-US" dirty="0" err="1"/>
              <a:t>Cùng</a:t>
            </a:r>
            <a:r>
              <a:rPr lang="en-US" dirty="0"/>
              <a:t> </a:t>
            </a:r>
            <a:r>
              <a:rPr lang="en-US" dirty="0" err="1"/>
              <a:t>nhau</a:t>
            </a:r>
            <a:endParaRPr lang="en-US" dirty="0"/>
          </a:p>
        </p:txBody>
      </p:sp>
      <p:sp>
        <p:nvSpPr>
          <p:cNvPr id="10" name="Text Placeholder 9">
            <a:extLst>
              <a:ext uri="{FF2B5EF4-FFF2-40B4-BE49-F238E27FC236}">
                <a16:creationId xmlns:a16="http://schemas.microsoft.com/office/drawing/2014/main" id="{8F45B7F8-B491-67A6-F074-8EB6B89A21FE}"/>
              </a:ext>
            </a:extLst>
          </p:cNvPr>
          <p:cNvSpPr>
            <a:spLocks noGrp="1"/>
          </p:cNvSpPr>
          <p:nvPr>
            <p:ph type="body" sz="quarter" idx="11"/>
          </p:nvPr>
        </p:nvSpPr>
        <p:spPr>
          <a:xfrm>
            <a:off x="1093521" y="4620425"/>
            <a:ext cx="3132000" cy="831850"/>
          </a:xfrm>
        </p:spPr>
        <p:txBody>
          <a:bodyPr>
            <a:normAutofit/>
          </a:bodyPr>
          <a:lstStyle/>
          <a:p>
            <a:r>
              <a:rPr lang="vi-VN" sz="1400" dirty="0"/>
              <a:t>chúng ta có thể đảm bảo rằng tất cả những ai cần xét nghiệm đều được xét nghiệm</a:t>
            </a:r>
            <a:endParaRPr lang="en-US" sz="1400" dirty="0"/>
          </a:p>
        </p:txBody>
      </p:sp>
    </p:spTree>
    <p:extLst>
      <p:ext uri="{BB962C8B-B14F-4D97-AF65-F5344CB8AC3E}">
        <p14:creationId xmlns:p14="http://schemas.microsoft.com/office/powerpoint/2010/main" val="13261779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26&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d.&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EE4P_MASTERWIZARD_MARGINS" val="0"/>
  <p:tag name="EE4P_STYLE_ID" val="KwuiTUoX"/>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zoMydtSgFos7l78lxWp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ND template*">
  <a:themeElements>
    <a:clrScheme name="*FIND template*">
      <a:dk1>
        <a:srgbClr val="000000"/>
      </a:dk1>
      <a:lt1>
        <a:srgbClr val="FFFFFF"/>
      </a:lt1>
      <a:dk2>
        <a:srgbClr val="43ABB6"/>
      </a:dk2>
      <a:lt2>
        <a:srgbClr val="8C9EAB"/>
      </a:lt2>
      <a:accent1>
        <a:srgbClr val="5A2259"/>
      </a:accent1>
      <a:accent2>
        <a:srgbClr val="43ABB6"/>
      </a:accent2>
      <a:accent3>
        <a:srgbClr val="D3553F"/>
      </a:accent3>
      <a:accent4>
        <a:srgbClr val="8C9EAB"/>
      </a:accent4>
      <a:accent5>
        <a:srgbClr val="B785B7"/>
      </a:accent5>
      <a:accent6>
        <a:srgbClr val="4C5B68"/>
      </a:accent6>
      <a:hlink>
        <a:srgbClr val="8B518B"/>
      </a:hlink>
      <a:folHlink>
        <a:srgbClr val="B785B7"/>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5A2259"/>
        </a:solidFill>
        <a:ln w="9525">
          <a:noFill/>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F7F7F"/>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FIND 2017 - 07-2017">
        <a:dk1>
          <a:srgbClr val="000000"/>
        </a:dk1>
        <a:lt1>
          <a:srgbClr val="FFFFFF"/>
        </a:lt1>
        <a:dk2>
          <a:srgbClr val="43ABB6"/>
        </a:dk2>
        <a:lt2>
          <a:srgbClr val="8C9EAB"/>
        </a:lt2>
        <a:accent1>
          <a:srgbClr val="EEF1F2"/>
        </a:accent1>
        <a:accent2>
          <a:srgbClr val="D3F4F7"/>
        </a:accent2>
        <a:accent3>
          <a:srgbClr val="C5CED5"/>
        </a:accent3>
        <a:accent4>
          <a:srgbClr val="4C5B68"/>
        </a:accent4>
        <a:accent5>
          <a:srgbClr val="B785B7"/>
        </a:accent5>
        <a:accent6>
          <a:srgbClr val="5A2259"/>
        </a:accent6>
        <a:hlink>
          <a:srgbClr val="8B518B"/>
        </a:hlink>
        <a:folHlink>
          <a:srgbClr val="B785B7"/>
        </a:folHlink>
      </a:clrScheme>
      <a:clrMap bg1="lt1" tx1="dk1" bg2="lt2" tx2="dk2" accent1="accent1" accent2="accent2" accent3="accent3" accent4="accent4" accent5="accent5" accent6="accent6" hlink="hlink" folHlink="folHlink"/>
    </a:extraClrScheme>
  </a:extraClrSchemeLst>
  <a:custClrLst>
    <a:custClr name="Teal">
      <a:srgbClr val="43ABB6"/>
    </a:custClr>
    <a:custClr name="White">
      <a:srgbClr val="FFFFFF"/>
    </a:custClr>
    <a:custClr name="Black">
      <a:srgbClr val="000000"/>
    </a:custClr>
    <a:custClr name="Light Teal">
      <a:srgbClr val="D3F4F7"/>
    </a:custClr>
    <a:custClr name="Medium Teal">
      <a:srgbClr val="8ED5DC"/>
    </a:custClr>
    <a:custClr name="Dark Teal">
      <a:srgbClr val="307C84"/>
    </a:custClr>
    <a:custClr name="Light Gray">
      <a:srgbClr val="EEF1F2"/>
    </a:custClr>
    <a:custClr name="Medium Gray">
      <a:srgbClr val="C5CED5"/>
    </a:custClr>
    <a:custClr name="Gray">
      <a:srgbClr val="8C9EAB"/>
    </a:custClr>
    <a:custClr name="Dark Gray">
      <a:srgbClr val="4C5B68"/>
    </a:custClr>
    <a:custClr name="Light Purple">
      <a:srgbClr val="F2D6F2"/>
    </a:custClr>
    <a:custClr name="Medium Purple">
      <a:srgbClr val="B785B7"/>
    </a:custClr>
    <a:custClr name="Purple">
      <a:srgbClr val="8B518B"/>
    </a:custClr>
    <a:custClr name="Dark Purple">
      <a:srgbClr val="5A2259"/>
    </a:custClr>
    <a:custClr name="Light Orange">
      <a:srgbClr val="FFE6AF"/>
    </a:custClr>
    <a:custClr name="Medium Orange">
      <a:srgbClr val="FDC569"/>
    </a:custClr>
    <a:custClr name="Orange">
      <a:srgbClr val="F79646"/>
    </a:custClr>
    <a:custClr name="Dark Orange">
      <a:srgbClr val="D3553F"/>
    </a:custClr>
    <a:custClr name="Light Green">
      <a:srgbClr val="DEEFCD"/>
    </a:custClr>
    <a:custClr name="Medium Green">
      <a:srgbClr val="A3C87E"/>
    </a:custClr>
    <a:custClr name="Green">
      <a:srgbClr val="669735"/>
    </a:custClr>
    <a:custClr name="Dark Green">
      <a:srgbClr val="3B680E"/>
    </a:custClr>
    <a:custClr name="Light Blue">
      <a:srgbClr val="D8E7F8"/>
    </a:custClr>
    <a:custClr name="Medium Blue">
      <a:srgbClr val="95BADF"/>
    </a:custClr>
    <a:custClr name="Blue">
      <a:srgbClr val="4580BB"/>
    </a:custClr>
    <a:custClr name="Dark Blue">
      <a:srgbClr val="2F5E8D"/>
    </a:custClr>
    <a:custClr name="Light Brown">
      <a:srgbClr val="F0DCC8"/>
    </a:custClr>
    <a:custClr name="Medium Brown">
      <a:srgbClr val="C89D72"/>
    </a:custClr>
    <a:custClr name="Brown">
      <a:srgbClr val="8F6235"/>
    </a:custClr>
    <a:custClr name="Dark Brown">
      <a:srgbClr val="5F3913"/>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extLst>
    <a:ext uri="{05A4C25C-085E-4340-85A3-A5531E510DB2}">
      <thm15:themeFamily xmlns:thm15="http://schemas.microsoft.com/office/thememl/2012/main" name="blank.potx" id="{AB4EB1FF-5992-4542-87C8-4624D2AD5E3A}" vid="{86B8886F-6CF6-40DE-BCD3-1A25D72C45F6}"/>
    </a:ext>
  </a:extLst>
</a:theme>
</file>

<file path=ppt/theme/theme2.xml><?xml version="1.0" encoding="utf-8"?>
<a:theme xmlns:a="http://schemas.openxmlformats.org/drawingml/2006/main" name="blank-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E9EF62B87021448D745F43C4B11C16" ma:contentTypeVersion="20" ma:contentTypeDescription="Create a new document." ma:contentTypeScope="" ma:versionID="4c00ca65e33006485e241d700814ddb8">
  <xsd:schema xmlns:xsd="http://www.w3.org/2001/XMLSchema" xmlns:xs="http://www.w3.org/2001/XMLSchema" xmlns:p="http://schemas.microsoft.com/office/2006/metadata/properties" xmlns:ns2="5a1bbd72-f46e-43f3-8f72-2623deb0c047" xmlns:ns3="10c4dcad-8d39-4939-b489-2456ead71196" targetNamespace="http://schemas.microsoft.com/office/2006/metadata/properties" ma:root="true" ma:fieldsID="aa7a9679b48c7eede31e5ae68951acfb" ns2:_="" ns3:_="">
    <xsd:import namespace="5a1bbd72-f46e-43f3-8f72-2623deb0c047"/>
    <xsd:import namespace="10c4dcad-8d39-4939-b489-2456ead71196"/>
    <xsd:element name="properties">
      <xsd:complexType>
        <xsd:sequence>
          <xsd:element name="documentManagement">
            <xsd:complexType>
              <xsd:all>
                <xsd:element ref="ns2:SharedWithUsers" minOccurs="0"/>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3:SharedWithDetails" minOccurs="0"/>
                <xsd:element ref="ns2:MediaServiceOCR" minOccurs="0"/>
                <xsd:element ref="ns2:MediaServiceLocation"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1bbd72-f46e-43f3-8f72-2623deb0c047" elementFormDefault="qualified">
    <xsd:import namespace="http://schemas.microsoft.com/office/2006/documentManagement/types"/>
    <xsd:import namespace="http://schemas.microsoft.com/office/infopath/2007/PartnerControls"/>
    <xsd:element name="SharedWithUsers" ma:index="8" nillable="true" ma:displayName="Shared With" ma:list="UserInfo" ma:SearchPeopleOnly="false" ma:internalName="SharedWithUsers"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891e9d6-a12c-4c86-87cb-8721f0ea6f4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0c4dcad-8d39-4939-b489-2456ead71196" elementFormDefault="qualified">
    <xsd:import namespace="http://schemas.microsoft.com/office/2006/documentManagement/types"/>
    <xsd:import namespace="http://schemas.microsoft.com/office/infopath/2007/PartnerControls"/>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b6b0a597-f2ee-4da4-9caf-9ff717947869}" ma:internalName="TaxCatchAll" ma:showField="CatchAllData" ma:web="10c4dcad-8d39-4939-b489-2456ead711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SharedWithUsers xmlns="5a1bbd72-f46e-43f3-8f72-2623deb0c047">
      <UserInfo>
        <DisplayName/>
        <AccountId xsi:nil="true"/>
        <AccountType/>
      </UserInfo>
    </SharedWithUsers>
    <lcf76f155ced4ddcb4097134ff3c332f xmlns="5a1bbd72-f46e-43f3-8f72-2623deb0c047">
      <Terms xmlns="http://schemas.microsoft.com/office/infopath/2007/PartnerControls"/>
    </lcf76f155ced4ddcb4097134ff3c332f>
    <TaxCatchAll xmlns="10c4dcad-8d39-4939-b489-2456ead7119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CF6D769-84DB-41C6-BFED-28EB52F777E8}"/>
</file>

<file path=customXml/itemProps2.xml><?xml version="1.0" encoding="utf-8"?>
<ds:datastoreItem xmlns:ds="http://schemas.openxmlformats.org/officeDocument/2006/customXml" ds:itemID="{FFF185EE-9726-4FAC-8A8C-F4FF7EEB7FA7}">
  <ds:schemaRefs>
    <ds:schemaRef ds:uri="5a1bbd72-f46e-43f3-8f72-2623deb0c047"/>
    <ds:schemaRef ds:uri="92297be3-05ad-4194-8456-bf53b0948fb2"/>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FAA74BF-4E94-4EEA-8358-953389CCF68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heme1</Template>
  <TotalTime>283</TotalTime>
  <Words>1257</Words>
  <Application>Microsoft Macintosh PowerPoint</Application>
  <PresentationFormat>Widescreen</PresentationFormat>
  <Paragraphs>101</Paragraphs>
  <Slides>9</Slides>
  <Notes>6</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24" baseType="lpstr">
      <vt:lpstr>Arial</vt:lpstr>
      <vt:lpstr>Calibri</vt:lpstr>
      <vt:lpstr>Calibri Light</vt:lpstr>
      <vt:lpstr>Fira Sans Extra Condensed</vt:lpstr>
      <vt:lpstr>Franklin Gothic Book</vt:lpstr>
      <vt:lpstr>Franklin Gothic Demi</vt:lpstr>
      <vt:lpstr>Franklin Gothic Medium</vt:lpstr>
      <vt:lpstr>HelveticaNeueLT Pro 57 Cn</vt:lpstr>
      <vt:lpstr>Noto Sans Hanunoo</vt:lpstr>
      <vt:lpstr>Roboto</vt:lpstr>
      <vt:lpstr>Trebuchet MS</vt:lpstr>
      <vt:lpstr>Wingdings</vt:lpstr>
      <vt:lpstr>*FIND template*</vt:lpstr>
      <vt:lpstr>blank-2</vt:lpstr>
      <vt:lpstr>think-cell Slide</vt:lpstr>
      <vt:lpstr>HOẠT ĐỘNG hỗ trợ tăng cường hệ thống y tế tại  Việt Nam CỦA FIND</vt:lpstr>
      <vt:lpstr>PowerPoint Presentation</vt:lpstr>
      <vt:lpstr>FIND tìm cách đảm bảo</vt:lpstr>
      <vt:lpstr>PowerPoint Presentation</vt:lpstr>
      <vt:lpstr>Chương trình quốc gia của find tại viet nam</vt:lpstr>
      <vt:lpstr>Chương trình quốc gia của find tại viet nam</vt:lpstr>
      <vt:lpstr>Chương trình quốc gia của find tại viet nam</vt:lpstr>
      <vt:lpstr>Chương trình quốc gia của find tại viet nam</vt:lpstr>
      <vt:lpstr>Cùng nhau</vt:lpstr>
    </vt:vector>
  </TitlesOfParts>
  <Manager/>
  <Company>Genpact</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iwari, Pradeep</dc:creator>
  <cp:keywords/>
  <dc:description/>
  <cp:lastModifiedBy>vananhtdt@gmail.com</cp:lastModifiedBy>
  <cp:revision>3</cp:revision>
  <cp:lastPrinted>2020-10-12T07:52:37Z</cp:lastPrinted>
  <dcterms:created xsi:type="dcterms:W3CDTF">2020-02-13T09:04:23Z</dcterms:created>
  <dcterms:modified xsi:type="dcterms:W3CDTF">2023-08-02T11:38:1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6E9EF62B87021448D745F43C4B11C16</vt:lpwstr>
  </property>
  <property fmtid="{D5CDD505-2E9C-101B-9397-08002B2CF9AE}" pid="3" name="MediaServiceImageTags">
    <vt:lpwstr/>
  </property>
</Properties>
</file>